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3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7" r:id="rId2"/>
    <p:sldMasterId id="2147483762" r:id="rId3"/>
    <p:sldMasterId id="2147483817" r:id="rId4"/>
    <p:sldMasterId id="2147483864" r:id="rId5"/>
  </p:sldMasterIdLst>
  <p:notesMasterIdLst>
    <p:notesMasterId r:id="rId12"/>
  </p:notesMasterIdLst>
  <p:sldIdLst>
    <p:sldId id="2134804593" r:id="rId6"/>
    <p:sldId id="1231" r:id="rId7"/>
    <p:sldId id="1298" r:id="rId8"/>
    <p:sldId id="1297" r:id="rId9"/>
    <p:sldId id="1201" r:id="rId10"/>
    <p:sldId id="2134804592" r:id="rId11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B3A2FA-2B7E-24A3-63F4-44EBB786052B}" name="Tomášková, Jaroslava (RC-CZ CM MC)" initials="JT" userId="S::jaroslava.tomaskova@siemens.com::7f127cb5-8c15-4dc9-a9be-0ea9f9a0292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6" y="4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47F3BB-3D73-4A88-80F7-4452977A4364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ED05D7-1675-4985-B91D-34492F6DED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360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207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655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3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6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3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6.sv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9.sv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sv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3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6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9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3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6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9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406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803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712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302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63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727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067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497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7815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508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358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180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388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498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125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71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644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291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018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1521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70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49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2102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98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009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748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07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99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456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4572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631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99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0512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93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178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591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860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559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2893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75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052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125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581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271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378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513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735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591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73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281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379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046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29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70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47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38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938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906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014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337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241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105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647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238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803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419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4812" y="0"/>
            <a:ext cx="11787188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508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938"/>
          <a:stretch/>
        </p:blipFill>
        <p:spPr>
          <a:xfrm rot="5400000">
            <a:off x="2872582" y="-2461419"/>
            <a:ext cx="6858000" cy="11780837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9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927"/>
          <a:stretch/>
        </p:blipFill>
        <p:spPr>
          <a:xfrm rot="16200000">
            <a:off x="2869406" y="-2464594"/>
            <a:ext cx="6858000" cy="11787188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057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4812" y="0"/>
            <a:ext cx="11787188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26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191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0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47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09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716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58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382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552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260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32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87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115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95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288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651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46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5892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343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981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08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418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4540" y="490535"/>
            <a:ext cx="6858003" cy="5876925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549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153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tage">
            <a:extLst>
              <a:ext uri="{FF2B5EF4-FFF2-40B4-BE49-F238E27FC236}">
                <a16:creationId xmlns:a16="http://schemas.microsoft.com/office/drawing/2014/main" id="{3736255E-953B-46D8-9F91-117AAB8492F2}"/>
              </a:ext>
            </a:extLst>
          </p:cNvPr>
          <p:cNvSpPr/>
          <p:nvPr userDrawn="1"/>
        </p:nvSpPr>
        <p:spPr>
          <a:xfrm>
            <a:off x="0" y="1414463"/>
            <a:ext cx="12191999" cy="4752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583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966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29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231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16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277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6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181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20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088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400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980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049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557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786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643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1963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259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33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953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43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4812" y="0"/>
            <a:ext cx="11787188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149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4574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34800"/>
            <a:ext cx="9288000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586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089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803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008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4812" y="0"/>
            <a:ext cx="11787188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357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938"/>
          <a:stretch/>
        </p:blipFill>
        <p:spPr>
          <a:xfrm rot="5400000">
            <a:off x="2872582" y="-2461419"/>
            <a:ext cx="6858000" cy="11780837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968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927"/>
          <a:stretch/>
        </p:blipFill>
        <p:spPr>
          <a:xfrm rot="16200000">
            <a:off x="2869406" y="-2464594"/>
            <a:ext cx="6858000" cy="11787188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5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4812" y="0"/>
            <a:ext cx="11787188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194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012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589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60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185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471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212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28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20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941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5869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2538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200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675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4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313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09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863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720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196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129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314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4540" y="490535"/>
            <a:ext cx="6858003" cy="5876925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507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tage">
            <a:extLst>
              <a:ext uri="{FF2B5EF4-FFF2-40B4-BE49-F238E27FC236}">
                <a16:creationId xmlns:a16="http://schemas.microsoft.com/office/drawing/2014/main" id="{3736255E-953B-46D8-9F91-117AAB8492F2}"/>
              </a:ext>
            </a:extLst>
          </p:cNvPr>
          <p:cNvSpPr/>
          <p:nvPr userDrawn="1"/>
        </p:nvSpPr>
        <p:spPr>
          <a:xfrm>
            <a:off x="0" y="1414463"/>
            <a:ext cx="12191999" cy="4752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53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140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580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377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84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701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058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151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220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95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9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456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696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64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365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944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10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42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02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14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976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260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34800"/>
            <a:ext cx="9288000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14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4540" y="490535"/>
            <a:ext cx="6858003" cy="5876925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49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tage">
            <a:extLst>
              <a:ext uri="{FF2B5EF4-FFF2-40B4-BE49-F238E27FC236}">
                <a16:creationId xmlns:a16="http://schemas.microsoft.com/office/drawing/2014/main" id="{3736255E-953B-46D8-9F91-117AAB8492F2}"/>
              </a:ext>
            </a:extLst>
          </p:cNvPr>
          <p:cNvSpPr/>
          <p:nvPr userDrawn="1"/>
        </p:nvSpPr>
        <p:spPr>
          <a:xfrm>
            <a:off x="0" y="1414463"/>
            <a:ext cx="12191999" cy="4752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87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583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35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517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938"/>
          <a:stretch/>
        </p:blipFill>
        <p:spPr>
          <a:xfrm rot="5400000">
            <a:off x="2872582" y="-2461419"/>
            <a:ext cx="6858000" cy="11780837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725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46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70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239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611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900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135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795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33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28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030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927"/>
          <a:stretch/>
        </p:blipFill>
        <p:spPr>
          <a:xfrm rot="16200000">
            <a:off x="2869406" y="-2464594"/>
            <a:ext cx="6858000" cy="11787188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133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49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551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732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37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402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7502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34800"/>
            <a:ext cx="9288000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042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backgroun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167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backgroun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247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backgroun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3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469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4812" y="0"/>
            <a:ext cx="11787188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016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Petrol gradient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932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Petrol gradient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417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Petrol gradient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437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131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506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95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221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623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588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1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466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59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337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8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113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06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9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381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515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186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8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520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291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188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558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160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612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258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963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Siemens Cognisphere on white backgroun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903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073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348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1870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014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992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Siemens Cognisphere (softened) on Deep Blue backgroun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827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53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Siemens Cognisphere (softened) on Deep Blue Petrol gradient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096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122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535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718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40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633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917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407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ltGray"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268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ltGray"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40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616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916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 bwMode="black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95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 bwMode="black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352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26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587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88.xml"/><Relationship Id="rId47" Type="http://schemas.openxmlformats.org/officeDocument/2006/relationships/slideLayout" Target="../slideLayouts/slideLayout93.xml"/><Relationship Id="rId50" Type="http://schemas.openxmlformats.org/officeDocument/2006/relationships/slideLayout" Target="../slideLayouts/slideLayout96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slideLayout" Target="../slideLayouts/slideLayout92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41" Type="http://schemas.openxmlformats.org/officeDocument/2006/relationships/slideLayout" Target="../slideLayouts/slideLayout87.xml"/><Relationship Id="rId54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53" Type="http://schemas.openxmlformats.org/officeDocument/2006/relationships/slideLayout" Target="../slideLayouts/slideLayout99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49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52" Type="http://schemas.openxmlformats.org/officeDocument/2006/relationships/slideLayout" Target="../slideLayouts/slideLayout98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48" Type="http://schemas.openxmlformats.org/officeDocument/2006/relationships/slideLayout" Target="../slideLayouts/slideLayout94.xml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3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9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34.xml"/><Relationship Id="rId42" Type="http://schemas.openxmlformats.org/officeDocument/2006/relationships/slideLayout" Target="../slideLayouts/slideLayout142.xml"/><Relationship Id="rId47" Type="http://schemas.openxmlformats.org/officeDocument/2006/relationships/slideLayout" Target="../slideLayouts/slideLayout147.xml"/><Relationship Id="rId50" Type="http://schemas.openxmlformats.org/officeDocument/2006/relationships/slideLayout" Target="../slideLayouts/slideLayout150.xml"/><Relationship Id="rId55" Type="http://schemas.openxmlformats.org/officeDocument/2006/relationships/theme" Target="../theme/theme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38" Type="http://schemas.openxmlformats.org/officeDocument/2006/relationships/slideLayout" Target="../slideLayouts/slideLayout138.xml"/><Relationship Id="rId46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41.xml"/><Relationship Id="rId54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37" Type="http://schemas.openxmlformats.org/officeDocument/2006/relationships/slideLayout" Target="../slideLayouts/slideLayout137.xml"/><Relationship Id="rId40" Type="http://schemas.openxmlformats.org/officeDocument/2006/relationships/slideLayout" Target="../slideLayouts/slideLayout140.xml"/><Relationship Id="rId45" Type="http://schemas.openxmlformats.org/officeDocument/2006/relationships/slideLayout" Target="../slideLayouts/slideLayout145.xml"/><Relationship Id="rId53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slideLayout" Target="../slideLayouts/slideLayout136.xml"/><Relationship Id="rId49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4" Type="http://schemas.openxmlformats.org/officeDocument/2006/relationships/slideLayout" Target="../slideLayouts/slideLayout144.xml"/><Relationship Id="rId52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slideLayout" Target="../slideLayouts/slideLayout135.xml"/><Relationship Id="rId43" Type="http://schemas.openxmlformats.org/officeDocument/2006/relationships/slideLayout" Target="../slideLayouts/slideLayout143.xml"/><Relationship Id="rId48" Type="http://schemas.openxmlformats.org/officeDocument/2006/relationships/slideLayout" Target="../slideLayouts/slideLayout148.xml"/><Relationship Id="rId8" Type="http://schemas.openxmlformats.org/officeDocument/2006/relationships/slideLayout" Target="../slideLayouts/slideLayout108.xml"/><Relationship Id="rId51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0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9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75.xml"/><Relationship Id="rId34" Type="http://schemas.openxmlformats.org/officeDocument/2006/relationships/slideLayout" Target="../slideLayouts/slideLayout188.xml"/><Relationship Id="rId42" Type="http://schemas.openxmlformats.org/officeDocument/2006/relationships/slideLayout" Target="../slideLayouts/slideLayout196.xml"/><Relationship Id="rId47" Type="http://schemas.openxmlformats.org/officeDocument/2006/relationships/theme" Target="../theme/theme4.xml"/><Relationship Id="rId50" Type="http://schemas.openxmlformats.org/officeDocument/2006/relationships/oleObject" Target="../embeddings/oleObject3.bin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slideLayout" Target="../slideLayouts/slideLayout187.xml"/><Relationship Id="rId38" Type="http://schemas.openxmlformats.org/officeDocument/2006/relationships/slideLayout" Target="../slideLayouts/slideLayout192.xml"/><Relationship Id="rId46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74.xml"/><Relationship Id="rId29" Type="http://schemas.openxmlformats.org/officeDocument/2006/relationships/slideLayout" Target="../slideLayouts/slideLayout183.xml"/><Relationship Id="rId41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slideLayout" Target="../slideLayouts/slideLayout186.xml"/><Relationship Id="rId37" Type="http://schemas.openxmlformats.org/officeDocument/2006/relationships/slideLayout" Target="../slideLayouts/slideLayout191.xml"/><Relationship Id="rId40" Type="http://schemas.openxmlformats.org/officeDocument/2006/relationships/slideLayout" Target="../slideLayouts/slideLayout194.xml"/><Relationship Id="rId45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36" Type="http://schemas.openxmlformats.org/officeDocument/2006/relationships/slideLayout" Target="../slideLayouts/slideLayout190.xml"/><Relationship Id="rId49" Type="http://schemas.openxmlformats.org/officeDocument/2006/relationships/tags" Target="../tags/tag6.xml"/><Relationship Id="rId10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73.xml"/><Relationship Id="rId31" Type="http://schemas.openxmlformats.org/officeDocument/2006/relationships/slideLayout" Target="../slideLayouts/slideLayout185.xml"/><Relationship Id="rId44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slideLayout" Target="../slideLayouts/slideLayout189.xml"/><Relationship Id="rId43" Type="http://schemas.openxmlformats.org/officeDocument/2006/relationships/slideLayout" Target="../slideLayouts/slideLayout197.xml"/><Relationship Id="rId48" Type="http://schemas.openxmlformats.org/officeDocument/2006/relationships/tags" Target="../tags/tag5.xml"/><Relationship Id="rId8" Type="http://schemas.openxmlformats.org/officeDocument/2006/relationships/slideLayout" Target="../slideLayouts/slideLayout162.xml"/><Relationship Id="rId51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3.xml"/><Relationship Id="rId18" Type="http://schemas.openxmlformats.org/officeDocument/2006/relationships/slideLayout" Target="../slideLayouts/slideLayout218.xml"/><Relationship Id="rId26" Type="http://schemas.openxmlformats.org/officeDocument/2006/relationships/slideLayout" Target="../slideLayouts/slideLayout226.xml"/><Relationship Id="rId39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03.xml"/><Relationship Id="rId21" Type="http://schemas.openxmlformats.org/officeDocument/2006/relationships/slideLayout" Target="../slideLayouts/slideLayout221.xml"/><Relationship Id="rId34" Type="http://schemas.openxmlformats.org/officeDocument/2006/relationships/slideLayout" Target="../slideLayouts/slideLayout234.xml"/><Relationship Id="rId42" Type="http://schemas.openxmlformats.org/officeDocument/2006/relationships/slideLayout" Target="../slideLayouts/slideLayout242.xml"/><Relationship Id="rId47" Type="http://schemas.openxmlformats.org/officeDocument/2006/relationships/theme" Target="../theme/theme5.xml"/><Relationship Id="rId50" Type="http://schemas.openxmlformats.org/officeDocument/2006/relationships/oleObject" Target="../embeddings/oleObject3.bin"/><Relationship Id="rId7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2.xml"/><Relationship Id="rId17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25.xml"/><Relationship Id="rId33" Type="http://schemas.openxmlformats.org/officeDocument/2006/relationships/slideLayout" Target="../slideLayouts/slideLayout233.xml"/><Relationship Id="rId38" Type="http://schemas.openxmlformats.org/officeDocument/2006/relationships/slideLayout" Target="../slideLayouts/slideLayout238.xml"/><Relationship Id="rId46" Type="http://schemas.openxmlformats.org/officeDocument/2006/relationships/slideLayout" Target="../slideLayouts/slideLayout246.xml"/><Relationship Id="rId2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216.xml"/><Relationship Id="rId20" Type="http://schemas.openxmlformats.org/officeDocument/2006/relationships/slideLayout" Target="../slideLayouts/slideLayout220.xml"/><Relationship Id="rId29" Type="http://schemas.openxmlformats.org/officeDocument/2006/relationships/slideLayout" Target="../slideLayouts/slideLayout229.xml"/><Relationship Id="rId41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24" Type="http://schemas.openxmlformats.org/officeDocument/2006/relationships/slideLayout" Target="../slideLayouts/slideLayout224.xml"/><Relationship Id="rId32" Type="http://schemas.openxmlformats.org/officeDocument/2006/relationships/slideLayout" Target="../slideLayouts/slideLayout232.xml"/><Relationship Id="rId37" Type="http://schemas.openxmlformats.org/officeDocument/2006/relationships/slideLayout" Target="../slideLayouts/slideLayout237.xml"/><Relationship Id="rId40" Type="http://schemas.openxmlformats.org/officeDocument/2006/relationships/slideLayout" Target="../slideLayouts/slideLayout240.xml"/><Relationship Id="rId45" Type="http://schemas.openxmlformats.org/officeDocument/2006/relationships/slideLayout" Target="../slideLayouts/slideLayout245.xml"/><Relationship Id="rId5" Type="http://schemas.openxmlformats.org/officeDocument/2006/relationships/slideLayout" Target="../slideLayouts/slideLayout205.xml"/><Relationship Id="rId15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23.xml"/><Relationship Id="rId28" Type="http://schemas.openxmlformats.org/officeDocument/2006/relationships/slideLayout" Target="../slideLayouts/slideLayout228.xml"/><Relationship Id="rId36" Type="http://schemas.openxmlformats.org/officeDocument/2006/relationships/slideLayout" Target="../slideLayouts/slideLayout236.xml"/><Relationship Id="rId49" Type="http://schemas.openxmlformats.org/officeDocument/2006/relationships/tags" Target="../tags/tag10.xml"/><Relationship Id="rId10" Type="http://schemas.openxmlformats.org/officeDocument/2006/relationships/slideLayout" Target="../slideLayouts/slideLayout210.xml"/><Relationship Id="rId19" Type="http://schemas.openxmlformats.org/officeDocument/2006/relationships/slideLayout" Target="../slideLayouts/slideLayout219.xml"/><Relationship Id="rId31" Type="http://schemas.openxmlformats.org/officeDocument/2006/relationships/slideLayout" Target="../slideLayouts/slideLayout231.xml"/><Relationship Id="rId44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22.xml"/><Relationship Id="rId27" Type="http://schemas.openxmlformats.org/officeDocument/2006/relationships/slideLayout" Target="../slideLayouts/slideLayout227.xml"/><Relationship Id="rId30" Type="http://schemas.openxmlformats.org/officeDocument/2006/relationships/slideLayout" Target="../slideLayouts/slideLayout230.xml"/><Relationship Id="rId35" Type="http://schemas.openxmlformats.org/officeDocument/2006/relationships/slideLayout" Target="../slideLayouts/slideLayout235.xml"/><Relationship Id="rId43" Type="http://schemas.openxmlformats.org/officeDocument/2006/relationships/slideLayout" Target="../slideLayouts/slideLayout243.xml"/><Relationship Id="rId48" Type="http://schemas.openxmlformats.org/officeDocument/2006/relationships/tags" Target="../tags/tag9.xml"/><Relationship Id="rId8" Type="http://schemas.openxmlformats.org/officeDocument/2006/relationships/slideLayout" Target="../slideLayouts/slideLayout208.xml"/><Relationship Id="rId5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46158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306" imgH="306" progId="TCLayout.ActiveDocument.1">
                  <p:embed/>
                </p:oleObj>
              </mc:Choice>
              <mc:Fallback>
                <p:oleObj name="think-cell Folie" r:id="rId50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40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991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1" r:id="rId24"/>
    <p:sldLayoutId id="2147483732" r:id="rId25"/>
    <p:sldLayoutId id="2147483733" r:id="rId26"/>
    <p:sldLayoutId id="2147483734" r:id="rId27"/>
    <p:sldLayoutId id="2147483735" r:id="rId28"/>
    <p:sldLayoutId id="2147483736" r:id="rId29"/>
    <p:sldLayoutId id="2147483737" r:id="rId30"/>
    <p:sldLayoutId id="2147483738" r:id="rId31"/>
    <p:sldLayoutId id="2147483739" r:id="rId32"/>
    <p:sldLayoutId id="2147483740" r:id="rId33"/>
    <p:sldLayoutId id="2147483741" r:id="rId34"/>
    <p:sldLayoutId id="2147483742" r:id="rId35"/>
    <p:sldLayoutId id="2147483743" r:id="rId36"/>
    <p:sldLayoutId id="2147483744" r:id="rId37"/>
    <p:sldLayoutId id="2147483745" r:id="rId38"/>
    <p:sldLayoutId id="2147483746" r:id="rId39"/>
    <p:sldLayoutId id="2147483747" r:id="rId40"/>
    <p:sldLayoutId id="2147483748" r:id="rId41"/>
    <p:sldLayoutId id="2147483749" r:id="rId42"/>
    <p:sldLayoutId id="2147483750" r:id="rId43"/>
    <p:sldLayoutId id="2147483751" r:id="rId44"/>
    <p:sldLayoutId id="2147483752" r:id="rId45"/>
    <p:sldLayoutId id="2147483753" r:id="rId46"/>
    <p:sldLayoutId id="2147483754" r:id="rId47"/>
    <p:sldLayoutId id="2147483755" r:id="rId48"/>
    <p:sldLayoutId id="2147483756" r:id="rId49"/>
    <p:sldLayoutId id="2147483757" r:id="rId50"/>
    <p:sldLayoutId id="2147483758" r:id="rId51"/>
    <p:sldLayoutId id="2147483759" r:id="rId52"/>
    <p:sldLayoutId id="2147483760" r:id="rId53"/>
    <p:sldLayoutId id="2147483761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47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  <p:sldLayoutId id="2147483794" r:id="rId32"/>
    <p:sldLayoutId id="2147483795" r:id="rId33"/>
    <p:sldLayoutId id="2147483796" r:id="rId34"/>
    <p:sldLayoutId id="2147483797" r:id="rId35"/>
    <p:sldLayoutId id="2147483798" r:id="rId36"/>
    <p:sldLayoutId id="2147483799" r:id="rId37"/>
    <p:sldLayoutId id="2147483800" r:id="rId38"/>
    <p:sldLayoutId id="2147483801" r:id="rId39"/>
    <p:sldLayoutId id="2147483802" r:id="rId40"/>
    <p:sldLayoutId id="2147483803" r:id="rId41"/>
    <p:sldLayoutId id="2147483804" r:id="rId42"/>
    <p:sldLayoutId id="2147483805" r:id="rId43"/>
    <p:sldLayoutId id="2147483806" r:id="rId44"/>
    <p:sldLayoutId id="2147483807" r:id="rId45"/>
    <p:sldLayoutId id="2147483808" r:id="rId46"/>
    <p:sldLayoutId id="2147483809" r:id="rId47"/>
    <p:sldLayoutId id="2147483810" r:id="rId48"/>
    <p:sldLayoutId id="2147483811" r:id="rId49"/>
    <p:sldLayoutId id="2147483812" r:id="rId50"/>
    <p:sldLayoutId id="2147483813" r:id="rId51"/>
    <p:sldLayoutId id="2147483814" r:id="rId52"/>
    <p:sldLayoutId id="2147483815" r:id="rId53"/>
    <p:sldLayoutId id="2147483816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425182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306" imgH="306" progId="TCLayout.ActiveDocument.1">
                  <p:embed/>
                </p:oleObj>
              </mc:Choice>
              <mc:Fallback>
                <p:oleObj name="think-cell Folie" r:id="rId50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705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  <p:sldLayoutId id="2147483843" r:id="rId26"/>
    <p:sldLayoutId id="2147483844" r:id="rId27"/>
    <p:sldLayoutId id="2147483845" r:id="rId28"/>
    <p:sldLayoutId id="2147483846" r:id="rId29"/>
    <p:sldLayoutId id="2147483847" r:id="rId30"/>
    <p:sldLayoutId id="2147483848" r:id="rId31"/>
    <p:sldLayoutId id="2147483849" r:id="rId32"/>
    <p:sldLayoutId id="2147483850" r:id="rId33"/>
    <p:sldLayoutId id="2147483851" r:id="rId34"/>
    <p:sldLayoutId id="2147483852" r:id="rId35"/>
    <p:sldLayoutId id="2147483853" r:id="rId36"/>
    <p:sldLayoutId id="2147483854" r:id="rId37"/>
    <p:sldLayoutId id="2147483855" r:id="rId38"/>
    <p:sldLayoutId id="2147483856" r:id="rId39"/>
    <p:sldLayoutId id="2147483857" r:id="rId40"/>
    <p:sldLayoutId id="2147483858" r:id="rId41"/>
    <p:sldLayoutId id="2147483859" r:id="rId42"/>
    <p:sldLayoutId id="2147483860" r:id="rId43"/>
    <p:sldLayoutId id="2147483861" r:id="rId44"/>
    <p:sldLayoutId id="2147483862" r:id="rId45"/>
    <p:sldLayoutId id="2147483863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177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306" imgH="306" progId="TCLayout.ActiveDocument.1">
                  <p:embed/>
                </p:oleObj>
              </mc:Choice>
              <mc:Fallback>
                <p:oleObj name="think-cell Folie" r:id="rId50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18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78" r:id="rId14"/>
    <p:sldLayoutId id="2147483879" r:id="rId15"/>
    <p:sldLayoutId id="2147483880" r:id="rId16"/>
    <p:sldLayoutId id="2147483881" r:id="rId17"/>
    <p:sldLayoutId id="2147483882" r:id="rId18"/>
    <p:sldLayoutId id="2147483883" r:id="rId19"/>
    <p:sldLayoutId id="2147483884" r:id="rId20"/>
    <p:sldLayoutId id="2147483885" r:id="rId21"/>
    <p:sldLayoutId id="2147483886" r:id="rId22"/>
    <p:sldLayoutId id="2147483887" r:id="rId23"/>
    <p:sldLayoutId id="2147483888" r:id="rId24"/>
    <p:sldLayoutId id="2147483889" r:id="rId25"/>
    <p:sldLayoutId id="2147483890" r:id="rId26"/>
    <p:sldLayoutId id="2147483891" r:id="rId27"/>
    <p:sldLayoutId id="2147483892" r:id="rId28"/>
    <p:sldLayoutId id="2147483893" r:id="rId29"/>
    <p:sldLayoutId id="2147483894" r:id="rId30"/>
    <p:sldLayoutId id="2147483895" r:id="rId31"/>
    <p:sldLayoutId id="2147483896" r:id="rId32"/>
    <p:sldLayoutId id="2147483897" r:id="rId33"/>
    <p:sldLayoutId id="2147483898" r:id="rId34"/>
    <p:sldLayoutId id="2147483899" r:id="rId35"/>
    <p:sldLayoutId id="2147483900" r:id="rId36"/>
    <p:sldLayoutId id="2147483901" r:id="rId37"/>
    <p:sldLayoutId id="2147483902" r:id="rId38"/>
    <p:sldLayoutId id="2147483903" r:id="rId39"/>
    <p:sldLayoutId id="2147483904" r:id="rId40"/>
    <p:sldLayoutId id="2147483905" r:id="rId41"/>
    <p:sldLayoutId id="2147483906" r:id="rId42"/>
    <p:sldLayoutId id="2147483907" r:id="rId43"/>
    <p:sldLayoutId id="2147483908" r:id="rId44"/>
    <p:sldLayoutId id="2147483909" r:id="rId45"/>
    <p:sldLayoutId id="2147483910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0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3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cenasiemens.cz@siemens.com" TargetMode="External"/><Relationship Id="rId2" Type="http://schemas.openxmlformats.org/officeDocument/2006/relationships/hyperlink" Target="http://www.cenasiemens.cz/" TargetMode="External"/><Relationship Id="rId1" Type="http://schemas.openxmlformats.org/officeDocument/2006/relationships/slideLayout" Target="../slideLayouts/slideLayout99.xml"/><Relationship Id="rId4" Type="http://schemas.openxmlformats.org/officeDocument/2006/relationships/hyperlink" Target="mailto:jaroslava.tomaskova@siemens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>
            <a:extLst>
              <a:ext uri="{FF2B5EF4-FFF2-40B4-BE49-F238E27FC236}">
                <a16:creationId xmlns:a16="http://schemas.microsoft.com/office/drawing/2014/main" id="{133825E6-44DE-B3C5-D608-8D3EB4ED9C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605" y="-156409"/>
            <a:ext cx="11730789" cy="7820526"/>
          </a:xfrm>
          <a:prstGeom prst="rect">
            <a:avLst/>
          </a:pr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129D7802-7806-668A-BD7F-3E93427FBED3}"/>
              </a:ext>
            </a:extLst>
          </p:cNvPr>
          <p:cNvSpPr txBox="1"/>
          <p:nvPr/>
        </p:nvSpPr>
        <p:spPr>
          <a:xfrm>
            <a:off x="410401" y="4762525"/>
            <a:ext cx="514511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3600" dirty="0">
                <a:latin typeface="+mj-lt"/>
              </a:rPr>
              <a:t>Cena </a:t>
            </a:r>
            <a:r>
              <a:rPr lang="cs-CZ" sz="3600" b="1" dirty="0">
                <a:solidFill>
                  <a:srgbClr val="00FFB9"/>
                </a:solidFill>
                <a:latin typeface="+mj-lt"/>
              </a:rPr>
              <a:t>Wernera</a:t>
            </a:r>
            <a:br>
              <a:rPr lang="cs-CZ" sz="3600" b="1" dirty="0">
                <a:solidFill>
                  <a:srgbClr val="00FFB9"/>
                </a:solidFill>
                <a:latin typeface="+mj-lt"/>
              </a:rPr>
            </a:br>
            <a:r>
              <a:rPr lang="cs-CZ" sz="3600" b="1" dirty="0">
                <a:solidFill>
                  <a:srgbClr val="00FFB9"/>
                </a:solidFill>
                <a:latin typeface="+mj-lt"/>
              </a:rPr>
              <a:t>von Siemense 202</a:t>
            </a:r>
            <a:r>
              <a:rPr lang="en-US" sz="3600" b="1" dirty="0">
                <a:solidFill>
                  <a:srgbClr val="00FFB9"/>
                </a:solidFill>
                <a:latin typeface="+mj-lt"/>
              </a:rPr>
              <a:t>4</a:t>
            </a:r>
            <a:endParaRPr lang="cs-CZ" sz="3600" b="1" dirty="0">
              <a:solidFill>
                <a:srgbClr val="00FFB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98584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74220BBB-432A-494D-B5B6-FDBDF93EA35E}"/>
              </a:ext>
            </a:extLst>
          </p:cNvPr>
          <p:cNvSpPr txBox="1">
            <a:spLocks/>
          </p:cNvSpPr>
          <p:nvPr/>
        </p:nvSpPr>
        <p:spPr>
          <a:xfrm>
            <a:off x="410400" y="1348509"/>
            <a:ext cx="6768000" cy="4817954"/>
          </a:xfrm>
          <a:prstGeom prst="rect">
            <a:avLst/>
          </a:prstGeom>
          <a:solidFill>
            <a:srgbClr val="333353"/>
          </a:solidFill>
        </p:spPr>
        <p:txBody>
          <a:bodyPr vert="horz" lIns="432000" tIns="360000" rIns="432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dirty="0"/>
              <a:t>Cílem soutěže je oceňovat autory nejlepších studentských                   a vědeckých prací a pedagogy vysokých škol. Oceňujeme práce se zaměřením na všechny technické obory a přírodní vědy.</a:t>
            </a:r>
            <a:br>
              <a:rPr lang="cs-CZ" dirty="0"/>
            </a:br>
            <a:endParaRPr lang="en-US" dirty="0"/>
          </a:p>
          <a:p>
            <a:pPr lvl="1"/>
            <a:r>
              <a:rPr lang="cs-CZ" dirty="0"/>
              <a:t>Vítězné práce vybírají nezávislé poroty složené z odborníků z předních českých univerzit a Akademie věd ČR.</a:t>
            </a:r>
            <a:endParaRPr lang="en-US" dirty="0"/>
          </a:p>
          <a:p>
            <a:pPr lvl="1"/>
            <a:r>
              <a:rPr lang="cs-CZ" dirty="0"/>
              <a:t>Soutěž se koná pod záštitou Ministerstva školství, mládeže a tělovýchovy, Ministerstva průmyslu a obchodu, Ministerstva pro vědu a výzkum a Premiéra ČR Petra Fialy.</a:t>
            </a:r>
          </a:p>
          <a:p>
            <a:pPr marL="0" lvl="1" indent="0">
              <a:buNone/>
            </a:pPr>
            <a:r>
              <a:rPr lang="en-US" dirty="0" err="1">
                <a:solidFill>
                  <a:schemeClr val="accent2"/>
                </a:solidFill>
              </a:rPr>
              <a:t>Uzávěrka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 err="1">
                <a:solidFill>
                  <a:schemeClr val="accent2"/>
                </a:solidFill>
              </a:rPr>
              <a:t>přihlášek</a:t>
            </a:r>
            <a:r>
              <a:rPr lang="cs-CZ" dirty="0">
                <a:solidFill>
                  <a:schemeClr val="accent2"/>
                </a:solidFill>
              </a:rPr>
              <a:t> je každoročně</a:t>
            </a:r>
            <a:r>
              <a:rPr lang="en-US" dirty="0">
                <a:solidFill>
                  <a:schemeClr val="accent2"/>
                </a:solidFill>
              </a:rPr>
              <a:t> 30. 11. 2024 </a:t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en-US" dirty="0" err="1">
                <a:solidFill>
                  <a:schemeClr val="accent2"/>
                </a:solidFill>
              </a:rPr>
              <a:t>Přihlašování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 err="1">
                <a:solidFill>
                  <a:schemeClr val="accent2"/>
                </a:solidFill>
              </a:rPr>
              <a:t>na</a:t>
            </a:r>
            <a:r>
              <a:rPr lang="en-US" dirty="0">
                <a:solidFill>
                  <a:schemeClr val="accent2"/>
                </a:solidFill>
              </a:rPr>
              <a:t> www.cenasiemens.cz</a:t>
            </a:r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0916218-0FE7-DA40-850A-7231E8C46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>
                <a:solidFill>
                  <a:schemeClr val="accent2"/>
                </a:solidFill>
              </a:rPr>
              <a:t>Cena Wernera von Siemense</a:t>
            </a:r>
            <a:br>
              <a:rPr lang="en-US">
                <a:solidFill>
                  <a:schemeClr val="accent2"/>
                </a:solidFill>
              </a:rPr>
            </a:br>
            <a:r>
              <a:rPr lang="cs-CZ" b="0">
                <a:solidFill>
                  <a:schemeClr val="accent2"/>
                </a:solidFill>
              </a:rPr>
              <a:t>O soutěži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44935C-0A56-F643-B740-58DF1DF54D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</a:t>
            </a:r>
            <a:r>
              <a:rPr lang="en-US" dirty="0"/>
              <a:t>8-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EA469E-CFF4-9C45-9AEE-0BE7E3565C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Picture 5" descr="A person with a mustache and a beard&#10;&#10;Description automatically generated">
            <a:extLst>
              <a:ext uri="{FF2B5EF4-FFF2-40B4-BE49-F238E27FC236}">
                <a16:creationId xmlns:a16="http://schemas.microsoft.com/office/drawing/2014/main" id="{6DA79F0F-DC37-A6D7-47D6-D7CD4390B43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8400" y="1912729"/>
            <a:ext cx="5312369" cy="3540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950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chemeClr val="accent2"/>
                </a:solidFill>
              </a:rPr>
              <a:t>Cena Wernera von Siemense v číslech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4" name="Rechteck 3"/>
          <p:cNvSpPr>
            <a:spLocks/>
          </p:cNvSpPr>
          <p:nvPr/>
        </p:nvSpPr>
        <p:spPr bwMode="gray">
          <a:xfrm>
            <a:off x="6095999" y="3840623"/>
            <a:ext cx="3598207" cy="2302261"/>
          </a:xfrm>
          <a:prstGeom prst="rect">
            <a:avLst/>
          </a:prstGeom>
          <a:solidFill>
            <a:srgbClr val="333353"/>
          </a:solidFill>
          <a:ln w="19050">
            <a:noFill/>
          </a:ln>
          <a:effectLst/>
        </p:spPr>
        <p:txBody>
          <a:bodyPr lIns="143925" tIns="143925" rIns="143925" bIns="143925" rtlCol="0" anchor="t" anchorCtr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799" b="1" dirty="0">
                <a:solidFill>
                  <a:schemeClr val="tx1"/>
                </a:solidFill>
                <a:latin typeface="Arial"/>
                <a:ea typeface="+mn-ea"/>
              </a:rPr>
              <a:t>1 0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 000 Kč pro letošní vítěze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799" b="1" dirty="0">
              <a:solidFill>
                <a:schemeClr val="tx1"/>
              </a:solidFill>
              <a:latin typeface="Arial"/>
              <a:ea typeface="+mn-ea"/>
            </a:endParaRP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 letošní vítěze je připraveno v osmi kategoriích celkem </a:t>
            </a:r>
            <a:b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0</a:t>
            </a:r>
            <a:r>
              <a:rPr kumimoji="0" lang="cs-CZ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 000 Kč.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hteck 4"/>
          <p:cNvSpPr>
            <a:spLocks/>
          </p:cNvSpPr>
          <p:nvPr/>
        </p:nvSpPr>
        <p:spPr bwMode="gray">
          <a:xfrm>
            <a:off x="6096000" y="1222716"/>
            <a:ext cx="3598207" cy="2302264"/>
          </a:xfrm>
          <a:prstGeom prst="rect">
            <a:avLst/>
          </a:prstGeom>
          <a:solidFill>
            <a:srgbClr val="00FFB9"/>
          </a:solidFill>
          <a:ln w="19050">
            <a:noFill/>
          </a:ln>
          <a:effectLst/>
        </p:spPr>
        <p:txBody>
          <a:bodyPr lIns="143925" tIns="143925" rIns="143925" bIns="143925" rtlCol="0" anchor="t" anchorCtr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0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ceněných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799" b="1" dirty="0">
              <a:solidFill>
                <a:prstClr val="white"/>
              </a:solidFill>
              <a:latin typeface="Arial"/>
              <a:ea typeface="+mn-ea"/>
            </a:endParaRP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a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bu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vání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těže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sme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enili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47</a:t>
            </a:r>
            <a:r>
              <a:rPr lang="en-US" sz="1799" dirty="0">
                <a:solidFill>
                  <a:prstClr val="white"/>
                </a:solidFill>
                <a:latin typeface="Arial"/>
                <a:ea typeface="+mn-ea"/>
              </a:rPr>
              <a:t>0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udentů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dagogů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a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ědců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hteck 6"/>
          <p:cNvSpPr>
            <a:spLocks/>
          </p:cNvSpPr>
          <p:nvPr/>
        </p:nvSpPr>
        <p:spPr bwMode="gray">
          <a:xfrm>
            <a:off x="1744191" y="1199252"/>
            <a:ext cx="3598207" cy="2302261"/>
          </a:xfrm>
          <a:prstGeom prst="rect">
            <a:avLst/>
          </a:prstGeom>
          <a:solidFill>
            <a:srgbClr val="333353"/>
          </a:solidFill>
          <a:ln w="19050">
            <a:noFill/>
          </a:ln>
          <a:effectLst/>
        </p:spPr>
        <p:txBody>
          <a:bodyPr lIns="143925" tIns="143925" rIns="143925" bIns="143925" rtlCol="0" anchor="t" anchorCtr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lang="en-US" sz="1799" b="1" dirty="0">
                <a:solidFill>
                  <a:prstClr val="white"/>
                </a:solidFill>
                <a:latin typeface="Arial"/>
                <a:ea typeface="+mn-ea"/>
              </a:rPr>
              <a:t>7 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t konání soutěže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defTabSz="762000" eaLnBrk="0" fontAlgn="auto" hangingPunct="0">
              <a:spcBef>
                <a:spcPct val="0"/>
              </a:spcBef>
              <a:spcAft>
                <a:spcPts val="0"/>
              </a:spcAft>
              <a:defRPr/>
            </a:pPr>
            <a:r>
              <a:rPr kumimoji="0" lang="cs-CZ" sz="1799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iž více než dvacet pět let oceňujeme nadané studenty, inspirativní pedagogy a nadšené vědce.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hteck 7"/>
          <p:cNvSpPr>
            <a:spLocks/>
          </p:cNvSpPr>
          <p:nvPr/>
        </p:nvSpPr>
        <p:spPr bwMode="gray">
          <a:xfrm>
            <a:off x="1744191" y="3840620"/>
            <a:ext cx="3598207" cy="2302264"/>
          </a:xfrm>
          <a:prstGeom prst="rect">
            <a:avLst/>
          </a:prstGeom>
          <a:solidFill>
            <a:srgbClr val="00FFB9"/>
          </a:solidFill>
          <a:ln w="19050">
            <a:noFill/>
          </a:ln>
          <a:effectLst/>
        </p:spPr>
        <p:txBody>
          <a:bodyPr lIns="143925" tIns="143925" rIns="143925" bIns="143925" rtlCol="0" anchor="t" anchorCtr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lang="en-US" sz="1799" b="1" dirty="0">
                <a:solidFill>
                  <a:schemeClr val="tx1"/>
                </a:solidFill>
                <a:latin typeface="Arial"/>
                <a:ea typeface="+mn-ea"/>
              </a:rPr>
              <a:t>6</a:t>
            </a: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il. Kč vyplaceno v cenách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799" b="1" dirty="0">
              <a:solidFill>
                <a:schemeClr val="tx1"/>
              </a:solidFill>
              <a:latin typeface="Arial"/>
              <a:ea typeface="+mn-ea"/>
            </a:endParaRP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dměnách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sme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zdělili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lkově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iž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6 400 000 </a:t>
            </a:r>
            <a:r>
              <a:rPr kumimoji="0" lang="en-US" sz="1799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č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879296-D06B-49DA-AD32-BBF8B8B524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</a:t>
            </a:r>
            <a:r>
              <a:rPr lang="en-US" dirty="0"/>
              <a:t>8-22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FFBD17-1F63-44AC-A894-3BDBC942A1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265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chemeClr val="accent2"/>
                </a:solidFill>
              </a:rPr>
              <a:t>Kategorie a výhry v roce 202</a:t>
            </a:r>
            <a:r>
              <a:rPr lang="en-US" dirty="0">
                <a:solidFill>
                  <a:schemeClr val="accent2"/>
                </a:solidFill>
              </a:rPr>
              <a:t>4</a:t>
            </a:r>
            <a:br>
              <a:rPr lang="cs-CZ" dirty="0">
                <a:solidFill>
                  <a:schemeClr val="accent2"/>
                </a:solidFill>
              </a:rPr>
            </a:br>
            <a:r>
              <a:rPr lang="cs-CZ" b="0" dirty="0">
                <a:solidFill>
                  <a:schemeClr val="accent2"/>
                </a:solidFill>
              </a:rPr>
              <a:t>1 000 000 Kč</a:t>
            </a:r>
            <a:endParaRPr lang="en-US" b="0" dirty="0">
              <a:solidFill>
                <a:schemeClr val="accent2"/>
              </a:solidFill>
            </a:endParaRPr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410400" y="1415849"/>
            <a:ext cx="3600000" cy="1487549"/>
          </a:xfrm>
          <a:prstGeom prst="rect">
            <a:avLst/>
          </a:prstGeom>
          <a:solidFill>
            <a:srgbClr val="00646E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cs-CZ" sz="15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Nejlepší diplomová práce</a:t>
            </a:r>
            <a:endParaRPr kumimoji="0" lang="en-US" sz="1599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000</a:t>
            </a: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 Kč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+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000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Kč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40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000 </a:t>
            </a:r>
            <a:r>
              <a:rPr kumimoji="0" lang="cs-CZ" sz="1599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Kč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+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40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000 </a:t>
            </a:r>
            <a:r>
              <a:rPr kumimoji="0" lang="cs-CZ" sz="1599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Kč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000 </a:t>
            </a:r>
            <a:r>
              <a:rPr kumimoji="0" lang="cs-CZ" sz="1599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Kč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+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000 </a:t>
            </a:r>
            <a:r>
              <a:rPr kumimoji="0" lang="cs-CZ" sz="1599" b="0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Kč 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7EF22DC3-960D-2649-BDA7-BB8AC72957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8400" y="1415849"/>
            <a:ext cx="3600000" cy="1487549"/>
          </a:xfrm>
          <a:prstGeom prst="rect">
            <a:avLst/>
          </a:prstGeom>
          <a:solidFill>
            <a:srgbClr val="00FFB9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cs-CZ" sz="1599" b="1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Nejlepší disertační práce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7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 000 </a:t>
            </a: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Kč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+ 70 000 </a:t>
            </a: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Kč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4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 000 </a:t>
            </a: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Kč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+ 40 000 </a:t>
            </a: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Kč</a:t>
            </a:r>
            <a:endParaRPr kumimoji="0" lang="cs-CZ" sz="1599" b="0" i="0" u="none" strike="noStrike" kern="1200" cap="none" spc="0" normalizeH="0" baseline="0" noProof="0" dirty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3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 000 </a:t>
            </a: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Kč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+ 30 000 </a:t>
            </a:r>
            <a:r>
              <a:rPr lang="cs-CZ" sz="1599" dirty="0">
                <a:solidFill>
                  <a:srgbClr val="000028"/>
                </a:solidFill>
                <a:latin typeface="Arial"/>
                <a:ea typeface="Arial Unicode MS"/>
              </a:rPr>
              <a:t>Kč</a:t>
            </a:r>
            <a:endParaRPr kumimoji="0" lang="cs-CZ" sz="1599" b="0" i="0" u="none" strike="noStrike" kern="1200" cap="none" spc="0" normalizeH="0" baseline="0" noProof="0" dirty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8AC91AB4-850D-AC49-AEB0-58A15F3F2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6400" y="1415849"/>
            <a:ext cx="3600000" cy="1487549"/>
          </a:xfrm>
          <a:prstGeom prst="rect">
            <a:avLst/>
          </a:prstGeom>
          <a:solidFill>
            <a:srgbClr val="00FFB9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cs-CZ" sz="1599" b="1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Nejlepší základní výzkum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300 000 Kč (jednotlivec nebo tým)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7B68E5D0-E3BE-DE47-81D0-4056CD7846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400" y="3042633"/>
            <a:ext cx="3600000" cy="1487549"/>
          </a:xfrm>
          <a:prstGeom prst="rect">
            <a:avLst/>
          </a:prstGeom>
          <a:solidFill>
            <a:srgbClr val="333353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464B"/>
              </a:buClr>
              <a:buSzTx/>
              <a:buFontTx/>
              <a:buNone/>
              <a:tabLst/>
              <a:defRPr/>
            </a:pPr>
            <a:r>
              <a:rPr kumimoji="0" lang="cs-CZ" sz="15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Nejlepší pedagogický pracovník</a:t>
            </a:r>
            <a:endParaRPr kumimoji="0" lang="en-US" sz="1599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50 000 Kč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821058D5-B93F-3240-8C59-8144A73045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8400" y="4683529"/>
            <a:ext cx="3600000" cy="1487549"/>
          </a:xfrm>
          <a:prstGeom prst="rect">
            <a:avLst/>
          </a:prstGeom>
          <a:solidFill>
            <a:srgbClr val="00646E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cs-CZ" sz="15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Nejlepší ženská vědecká práce</a:t>
            </a:r>
            <a:endParaRPr kumimoji="0" lang="en-US" sz="15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solidFill>
                  <a:prstClr val="white"/>
                </a:solidFill>
                <a:latin typeface="Arial"/>
              </a:rPr>
              <a:t>3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 000 Kč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BFD7F8E1-4B70-4341-9CEE-B4C86B987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400" y="4678557"/>
            <a:ext cx="3600000" cy="1487549"/>
          </a:xfrm>
          <a:prstGeom prst="rect">
            <a:avLst/>
          </a:prstGeom>
          <a:solidFill>
            <a:srgbClr val="66667E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cs-CZ" sz="15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Práce na téma Průmysl 4.0</a:t>
            </a:r>
            <a:endParaRPr kumimoji="0" lang="en-US" sz="15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30 000 Kč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20 000 Kč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5" name="Rectangle 3">
            <a:extLst>
              <a:ext uri="{FF2B5EF4-FFF2-40B4-BE49-F238E27FC236}">
                <a16:creationId xmlns:a16="http://schemas.microsoft.com/office/drawing/2014/main" id="{CD6F5D9C-4471-8A4D-A383-A9C05633E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6400" y="4678557"/>
            <a:ext cx="3600000" cy="1487549"/>
          </a:xfrm>
          <a:prstGeom prst="rect">
            <a:avLst/>
          </a:prstGeom>
          <a:solidFill>
            <a:srgbClr val="333353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464B"/>
              </a:buClr>
              <a:buSzTx/>
              <a:buFontTx/>
              <a:buNone/>
              <a:tabLst/>
              <a:defRPr/>
            </a:pPr>
            <a:r>
              <a:rPr kumimoji="0" lang="cs-CZ" sz="15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Práce na téma Chytrá infrastruktura a energetika</a:t>
            </a:r>
            <a:endParaRPr kumimoji="0" lang="en-US" sz="1599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latin typeface="Arial"/>
                <a:ea typeface="Arial Unicode MS"/>
              </a:rPr>
              <a:t>3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0 000 Kč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latin typeface="Arial"/>
                <a:ea typeface="Arial Unicode MS"/>
              </a:rPr>
              <a:t>20 000 Kč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9758AE74-9C65-5A44-8807-4F8F30984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6400" y="3042633"/>
            <a:ext cx="3600000" cy="1487549"/>
          </a:xfrm>
          <a:prstGeom prst="rect">
            <a:avLst/>
          </a:prstGeom>
          <a:solidFill>
            <a:srgbClr val="00646E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cs-CZ" sz="15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Odměna za doporučení vítěze</a:t>
            </a:r>
            <a:endParaRPr kumimoji="0" lang="en-US" sz="15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10 000 Kč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>
              <a:buClr>
                <a:schemeClr val="bg1"/>
              </a:buClr>
            </a:pPr>
            <a:endParaRPr lang="en-US" sz="1599" dirty="0">
              <a:ea typeface="Arial Unicode M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12850-E642-4F03-8BE0-39A03B7132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4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89EE949C-AA67-90CD-EDF3-D08B8013007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8863" y="6310313"/>
            <a:ext cx="9217025" cy="547687"/>
          </a:xfrm>
        </p:spPr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</a:t>
            </a:r>
            <a:r>
              <a:rPr lang="en-US" dirty="0"/>
              <a:t>8-22</a:t>
            </a:r>
          </a:p>
        </p:txBody>
      </p:sp>
      <p:pic>
        <p:nvPicPr>
          <p:cNvPr id="5" name="Picture 4" descr="A person with a mustache and a beard&#10;&#10;Description automatically generated">
            <a:extLst>
              <a:ext uri="{FF2B5EF4-FFF2-40B4-BE49-F238E27FC236}">
                <a16:creationId xmlns:a16="http://schemas.microsoft.com/office/drawing/2014/main" id="{C9FB32FF-3238-E2B2-C067-58A3FB5CB0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9701" y="2834931"/>
            <a:ext cx="3832598" cy="255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952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reeform 14">
            <a:extLst>
              <a:ext uri="{FF2B5EF4-FFF2-40B4-BE49-F238E27FC236}">
                <a16:creationId xmlns:a16="http://schemas.microsoft.com/office/drawing/2014/main" id="{CAE3F164-440A-3949-BCFB-A5EBB4F6C167}"/>
              </a:ext>
            </a:extLst>
          </p:cNvPr>
          <p:cNvSpPr/>
          <p:nvPr/>
        </p:nvSpPr>
        <p:spPr bwMode="auto">
          <a:xfrm>
            <a:off x="410400" y="2204659"/>
            <a:ext cx="11376788" cy="3963490"/>
          </a:xfrm>
          <a:custGeom>
            <a:avLst/>
            <a:gdLst>
              <a:gd name="connsiteX0" fmla="*/ 194793 w 9996715"/>
              <a:gd name="connsiteY0" fmla="*/ 4427034 h 4427034"/>
              <a:gd name="connsiteX1" fmla="*/ 1254159 w 9996715"/>
              <a:gd name="connsiteY1" fmla="*/ 3401122 h 4427034"/>
              <a:gd name="connsiteX2" fmla="*/ 9662178 w 9996715"/>
              <a:gd name="connsiteY2" fmla="*/ 1059365 h 4427034"/>
              <a:gd name="connsiteX3" fmla="*/ 8290578 w 9996715"/>
              <a:gd name="connsiteY3" fmla="*/ 356839 h 4427034"/>
              <a:gd name="connsiteX4" fmla="*/ 9996715 w 9996715"/>
              <a:gd name="connsiteY4" fmla="*/ 0 h 4427034"/>
              <a:gd name="connsiteX5" fmla="*/ 9996715 w 9996715"/>
              <a:gd name="connsiteY5" fmla="*/ 0 h 4427034"/>
              <a:gd name="connsiteX0" fmla="*/ 180894 w 9982816"/>
              <a:gd name="connsiteY0" fmla="*/ 4427034 h 4427034"/>
              <a:gd name="connsiteX1" fmla="*/ 1240260 w 9982816"/>
              <a:gd name="connsiteY1" fmla="*/ 3401122 h 4427034"/>
              <a:gd name="connsiteX2" fmla="*/ 9324894 w 9982816"/>
              <a:gd name="connsiteY2" fmla="*/ 1326994 h 4427034"/>
              <a:gd name="connsiteX3" fmla="*/ 8276679 w 9982816"/>
              <a:gd name="connsiteY3" fmla="*/ 356839 h 4427034"/>
              <a:gd name="connsiteX4" fmla="*/ 9982816 w 9982816"/>
              <a:gd name="connsiteY4" fmla="*/ 0 h 4427034"/>
              <a:gd name="connsiteX5" fmla="*/ 9982816 w 9982816"/>
              <a:gd name="connsiteY5" fmla="*/ 0 h 4427034"/>
              <a:gd name="connsiteX0" fmla="*/ 180894 w 9982816"/>
              <a:gd name="connsiteY0" fmla="*/ 4427034 h 4427034"/>
              <a:gd name="connsiteX1" fmla="*/ 1240260 w 9982816"/>
              <a:gd name="connsiteY1" fmla="*/ 3401122 h 4427034"/>
              <a:gd name="connsiteX2" fmla="*/ 9324894 w 9982816"/>
              <a:gd name="connsiteY2" fmla="*/ 1326994 h 4427034"/>
              <a:gd name="connsiteX3" fmla="*/ 8276679 w 9982816"/>
              <a:gd name="connsiteY3" fmla="*/ 356839 h 4427034"/>
              <a:gd name="connsiteX4" fmla="*/ 9982816 w 9982816"/>
              <a:gd name="connsiteY4" fmla="*/ 0 h 4427034"/>
              <a:gd name="connsiteX5" fmla="*/ 9982816 w 9982816"/>
              <a:gd name="connsiteY5" fmla="*/ 0 h 4427034"/>
              <a:gd name="connsiteX0" fmla="*/ 181829 w 9983751"/>
              <a:gd name="connsiteY0" fmla="*/ 4427034 h 4427034"/>
              <a:gd name="connsiteX1" fmla="*/ 1241195 w 9983751"/>
              <a:gd name="connsiteY1" fmla="*/ 3401122 h 4427034"/>
              <a:gd name="connsiteX2" fmla="*/ 9348132 w 9983751"/>
              <a:gd name="connsiteY2" fmla="*/ 1349297 h 4427034"/>
              <a:gd name="connsiteX3" fmla="*/ 8277614 w 9983751"/>
              <a:gd name="connsiteY3" fmla="*/ 356839 h 4427034"/>
              <a:gd name="connsiteX4" fmla="*/ 9983751 w 9983751"/>
              <a:gd name="connsiteY4" fmla="*/ 0 h 4427034"/>
              <a:gd name="connsiteX5" fmla="*/ 9983751 w 9983751"/>
              <a:gd name="connsiteY5" fmla="*/ 0 h 4427034"/>
              <a:gd name="connsiteX0" fmla="*/ 181829 w 9983751"/>
              <a:gd name="connsiteY0" fmla="*/ 4427034 h 4427034"/>
              <a:gd name="connsiteX1" fmla="*/ 1241195 w 9983751"/>
              <a:gd name="connsiteY1" fmla="*/ 3401122 h 4427034"/>
              <a:gd name="connsiteX2" fmla="*/ 9348132 w 9983751"/>
              <a:gd name="connsiteY2" fmla="*/ 1349297 h 4427034"/>
              <a:gd name="connsiteX3" fmla="*/ 8277614 w 9983751"/>
              <a:gd name="connsiteY3" fmla="*/ 356839 h 4427034"/>
              <a:gd name="connsiteX4" fmla="*/ 9983751 w 9983751"/>
              <a:gd name="connsiteY4" fmla="*/ 0 h 4427034"/>
              <a:gd name="connsiteX5" fmla="*/ 9983751 w 9983751"/>
              <a:gd name="connsiteY5" fmla="*/ 0 h 4427034"/>
              <a:gd name="connsiteX0" fmla="*/ 176725 w 9978647"/>
              <a:gd name="connsiteY0" fmla="*/ 4427034 h 4427034"/>
              <a:gd name="connsiteX1" fmla="*/ 1236091 w 9978647"/>
              <a:gd name="connsiteY1" fmla="*/ 3401122 h 4427034"/>
              <a:gd name="connsiteX2" fmla="*/ 9220365 w 9978647"/>
              <a:gd name="connsiteY2" fmla="*/ 1282390 h 4427034"/>
              <a:gd name="connsiteX3" fmla="*/ 8272510 w 9978647"/>
              <a:gd name="connsiteY3" fmla="*/ 356839 h 4427034"/>
              <a:gd name="connsiteX4" fmla="*/ 9978647 w 9978647"/>
              <a:gd name="connsiteY4" fmla="*/ 0 h 4427034"/>
              <a:gd name="connsiteX5" fmla="*/ 9978647 w 9978647"/>
              <a:gd name="connsiteY5" fmla="*/ 0 h 4427034"/>
              <a:gd name="connsiteX0" fmla="*/ 37826 w 9839748"/>
              <a:gd name="connsiteY0" fmla="*/ 4427034 h 4427034"/>
              <a:gd name="connsiteX1" fmla="*/ 2390733 w 9839748"/>
              <a:gd name="connsiteY1" fmla="*/ 2910468 h 4427034"/>
              <a:gd name="connsiteX2" fmla="*/ 9081466 w 9839748"/>
              <a:gd name="connsiteY2" fmla="*/ 1282390 h 4427034"/>
              <a:gd name="connsiteX3" fmla="*/ 8133611 w 9839748"/>
              <a:gd name="connsiteY3" fmla="*/ 356839 h 4427034"/>
              <a:gd name="connsiteX4" fmla="*/ 9839748 w 9839748"/>
              <a:gd name="connsiteY4" fmla="*/ 0 h 4427034"/>
              <a:gd name="connsiteX5" fmla="*/ 9839748 w 9839748"/>
              <a:gd name="connsiteY5" fmla="*/ 0 h 4427034"/>
              <a:gd name="connsiteX0" fmla="*/ 68432 w 9870354"/>
              <a:gd name="connsiteY0" fmla="*/ 4427034 h 4427034"/>
              <a:gd name="connsiteX1" fmla="*/ 2421339 w 9870354"/>
              <a:gd name="connsiteY1" fmla="*/ 2910468 h 4427034"/>
              <a:gd name="connsiteX2" fmla="*/ 9112072 w 9870354"/>
              <a:gd name="connsiteY2" fmla="*/ 1282390 h 4427034"/>
              <a:gd name="connsiteX3" fmla="*/ 8164217 w 9870354"/>
              <a:gd name="connsiteY3" fmla="*/ 356839 h 4427034"/>
              <a:gd name="connsiteX4" fmla="*/ 9870354 w 9870354"/>
              <a:gd name="connsiteY4" fmla="*/ 0 h 4427034"/>
              <a:gd name="connsiteX5" fmla="*/ 9870354 w 9870354"/>
              <a:gd name="connsiteY5" fmla="*/ 0 h 4427034"/>
              <a:gd name="connsiteX0" fmla="*/ 38570 w 9840492"/>
              <a:gd name="connsiteY0" fmla="*/ 4427034 h 4427034"/>
              <a:gd name="connsiteX1" fmla="*/ 2391477 w 9840492"/>
              <a:gd name="connsiteY1" fmla="*/ 2910468 h 4427034"/>
              <a:gd name="connsiteX2" fmla="*/ 9249478 w 9840492"/>
              <a:gd name="connsiteY2" fmla="*/ 1237785 h 4427034"/>
              <a:gd name="connsiteX3" fmla="*/ 8134355 w 9840492"/>
              <a:gd name="connsiteY3" fmla="*/ 356839 h 4427034"/>
              <a:gd name="connsiteX4" fmla="*/ 9840492 w 9840492"/>
              <a:gd name="connsiteY4" fmla="*/ 0 h 4427034"/>
              <a:gd name="connsiteX5" fmla="*/ 9840492 w 9840492"/>
              <a:gd name="connsiteY5" fmla="*/ 0 h 4427034"/>
              <a:gd name="connsiteX0" fmla="*/ 38570 w 9840492"/>
              <a:gd name="connsiteY0" fmla="*/ 4427034 h 4427034"/>
              <a:gd name="connsiteX1" fmla="*/ 2391477 w 9840492"/>
              <a:gd name="connsiteY1" fmla="*/ 2910468 h 4427034"/>
              <a:gd name="connsiteX2" fmla="*/ 9249478 w 9840492"/>
              <a:gd name="connsiteY2" fmla="*/ 1237785 h 4427034"/>
              <a:gd name="connsiteX3" fmla="*/ 8134355 w 9840492"/>
              <a:gd name="connsiteY3" fmla="*/ 356839 h 4427034"/>
              <a:gd name="connsiteX4" fmla="*/ 9840492 w 9840492"/>
              <a:gd name="connsiteY4" fmla="*/ 0 h 4427034"/>
              <a:gd name="connsiteX5" fmla="*/ 9840492 w 9840492"/>
              <a:gd name="connsiteY5" fmla="*/ 0 h 4427034"/>
              <a:gd name="connsiteX0" fmla="*/ 38269 w 9840191"/>
              <a:gd name="connsiteY0" fmla="*/ 4427034 h 4427034"/>
              <a:gd name="connsiteX1" fmla="*/ 2391176 w 9840191"/>
              <a:gd name="connsiteY1" fmla="*/ 2910468 h 4427034"/>
              <a:gd name="connsiteX2" fmla="*/ 9182269 w 9840191"/>
              <a:gd name="connsiteY2" fmla="*/ 1215483 h 4427034"/>
              <a:gd name="connsiteX3" fmla="*/ 8134054 w 9840191"/>
              <a:gd name="connsiteY3" fmla="*/ 356839 h 4427034"/>
              <a:gd name="connsiteX4" fmla="*/ 9840191 w 9840191"/>
              <a:gd name="connsiteY4" fmla="*/ 0 h 4427034"/>
              <a:gd name="connsiteX5" fmla="*/ 9840191 w 9840191"/>
              <a:gd name="connsiteY5" fmla="*/ 0 h 4427034"/>
              <a:gd name="connsiteX0" fmla="*/ 0 w 9801922"/>
              <a:gd name="connsiteY0" fmla="*/ 4427034 h 4427034"/>
              <a:gd name="connsiteX1" fmla="*/ 2352907 w 9801922"/>
              <a:gd name="connsiteY1" fmla="*/ 2910468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352907 w 9801922"/>
              <a:gd name="connsiteY1" fmla="*/ 2910468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352907 w 9801922"/>
              <a:gd name="connsiteY1" fmla="*/ 2910468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88244 w 9801922"/>
              <a:gd name="connsiteY2" fmla="*/ 1237785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88244 w 9801922"/>
              <a:gd name="connsiteY2" fmla="*/ 1237785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88244 w 9801922"/>
              <a:gd name="connsiteY2" fmla="*/ 1237785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54790 w 9801922"/>
              <a:gd name="connsiteY2" fmla="*/ 1271239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54790 w 9801922"/>
              <a:gd name="connsiteY2" fmla="*/ 1271239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991493"/>
              <a:gd name="connsiteY0" fmla="*/ 4427045 h 4427045"/>
              <a:gd name="connsiteX1" fmla="*/ 2520175 w 9991493"/>
              <a:gd name="connsiteY1" fmla="*/ 2854723 h 4427045"/>
              <a:gd name="connsiteX2" fmla="*/ 9054790 w 9991493"/>
              <a:gd name="connsiteY2" fmla="*/ 1271250 h 4427045"/>
              <a:gd name="connsiteX3" fmla="*/ 8095785 w 9991493"/>
              <a:gd name="connsiteY3" fmla="*/ 356850 h 4427045"/>
              <a:gd name="connsiteX4" fmla="*/ 9801922 w 9991493"/>
              <a:gd name="connsiteY4" fmla="*/ 11 h 4427045"/>
              <a:gd name="connsiteX5" fmla="*/ 9991493 w 9991493"/>
              <a:gd name="connsiteY5" fmla="*/ 345699 h 4427045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54790 w 9801922"/>
              <a:gd name="connsiteY2" fmla="*/ 1271239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9054790 w 9801922"/>
              <a:gd name="connsiteY2" fmla="*/ 1293542 h 4449337"/>
              <a:gd name="connsiteX3" fmla="*/ 8095785 w 9801922"/>
              <a:gd name="connsiteY3" fmla="*/ 379142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9054790 w 9801922"/>
              <a:gd name="connsiteY2" fmla="*/ 1293542 h 4449337"/>
              <a:gd name="connsiteX3" fmla="*/ 8095785 w 9801922"/>
              <a:gd name="connsiteY3" fmla="*/ 379142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9054790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9054790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8987883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8987883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143982 w 9801922"/>
              <a:gd name="connsiteY1" fmla="*/ 2672521 h 4449337"/>
              <a:gd name="connsiteX2" fmla="*/ 8987883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143982 w 9801922"/>
              <a:gd name="connsiteY1" fmla="*/ 2672521 h 4449337"/>
              <a:gd name="connsiteX2" fmla="*/ 8327004 w 9801922"/>
              <a:gd name="connsiteY2" fmla="*/ 1551851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143982 w 9801922"/>
              <a:gd name="connsiteY1" fmla="*/ 2672521 h 4449337"/>
              <a:gd name="connsiteX2" fmla="*/ 8327004 w 9801922"/>
              <a:gd name="connsiteY2" fmla="*/ 1551851 h 4449337"/>
              <a:gd name="connsiteX3" fmla="*/ 8035765 w 9801922"/>
              <a:gd name="connsiteY3" fmla="*/ 863860 h 4449337"/>
              <a:gd name="connsiteX4" fmla="*/ 9801922 w 9801922"/>
              <a:gd name="connsiteY4" fmla="*/ 0 h 4449337"/>
              <a:gd name="connsiteX0" fmla="*/ 0 w 9842592"/>
              <a:gd name="connsiteY0" fmla="*/ 3825091 h 3825091"/>
              <a:gd name="connsiteX1" fmla="*/ 2143982 w 9842592"/>
              <a:gd name="connsiteY1" fmla="*/ 2048275 h 3825091"/>
              <a:gd name="connsiteX2" fmla="*/ 8327004 w 9842592"/>
              <a:gd name="connsiteY2" fmla="*/ 927605 h 3825091"/>
              <a:gd name="connsiteX3" fmla="*/ 8035765 w 9842592"/>
              <a:gd name="connsiteY3" fmla="*/ 239614 h 3825091"/>
              <a:gd name="connsiteX4" fmla="*/ 9842592 w 9842592"/>
              <a:gd name="connsiteY4" fmla="*/ 0 h 3825091"/>
              <a:gd name="connsiteX0" fmla="*/ 0 w 9842592"/>
              <a:gd name="connsiteY0" fmla="*/ 3825422 h 3825422"/>
              <a:gd name="connsiteX1" fmla="*/ 2143982 w 9842592"/>
              <a:gd name="connsiteY1" fmla="*/ 2048606 h 3825422"/>
              <a:gd name="connsiteX2" fmla="*/ 8327004 w 9842592"/>
              <a:gd name="connsiteY2" fmla="*/ 927936 h 3825422"/>
              <a:gd name="connsiteX3" fmla="*/ 8035765 w 9842592"/>
              <a:gd name="connsiteY3" fmla="*/ 239945 h 3825422"/>
              <a:gd name="connsiteX4" fmla="*/ 9842592 w 9842592"/>
              <a:gd name="connsiteY4" fmla="*/ 331 h 3825422"/>
              <a:gd name="connsiteX0" fmla="*/ 0 w 9842592"/>
              <a:gd name="connsiteY0" fmla="*/ 3825422 h 3825422"/>
              <a:gd name="connsiteX1" fmla="*/ 2143982 w 9842592"/>
              <a:gd name="connsiteY1" fmla="*/ 2048606 h 3825422"/>
              <a:gd name="connsiteX2" fmla="*/ 8327004 w 9842592"/>
              <a:gd name="connsiteY2" fmla="*/ 927936 h 3825422"/>
              <a:gd name="connsiteX3" fmla="*/ 8035765 w 9842592"/>
              <a:gd name="connsiteY3" fmla="*/ 239945 h 3825422"/>
              <a:gd name="connsiteX4" fmla="*/ 9842592 w 9842592"/>
              <a:gd name="connsiteY4" fmla="*/ 331 h 3825422"/>
              <a:gd name="connsiteX0" fmla="*/ 0 w 9842592"/>
              <a:gd name="connsiteY0" fmla="*/ 3825422 h 3825422"/>
              <a:gd name="connsiteX1" fmla="*/ 2143982 w 9842592"/>
              <a:gd name="connsiteY1" fmla="*/ 2048606 h 3825422"/>
              <a:gd name="connsiteX2" fmla="*/ 8327004 w 9842592"/>
              <a:gd name="connsiteY2" fmla="*/ 927936 h 3825422"/>
              <a:gd name="connsiteX3" fmla="*/ 8035765 w 9842592"/>
              <a:gd name="connsiteY3" fmla="*/ 239945 h 3825422"/>
              <a:gd name="connsiteX4" fmla="*/ 9842592 w 9842592"/>
              <a:gd name="connsiteY4" fmla="*/ 331 h 3825422"/>
              <a:gd name="connsiteX0" fmla="*/ 0 w 9842592"/>
              <a:gd name="connsiteY0" fmla="*/ 3825422 h 3825422"/>
              <a:gd name="connsiteX1" fmla="*/ 2143982 w 9842592"/>
              <a:gd name="connsiteY1" fmla="*/ 2048606 h 3825422"/>
              <a:gd name="connsiteX2" fmla="*/ 8327004 w 9842592"/>
              <a:gd name="connsiteY2" fmla="*/ 927936 h 3825422"/>
              <a:gd name="connsiteX3" fmla="*/ 8035765 w 9842592"/>
              <a:gd name="connsiteY3" fmla="*/ 239945 h 3825422"/>
              <a:gd name="connsiteX4" fmla="*/ 9842592 w 9842592"/>
              <a:gd name="connsiteY4" fmla="*/ 331 h 3825422"/>
              <a:gd name="connsiteX0" fmla="*/ 0 w 9842592"/>
              <a:gd name="connsiteY0" fmla="*/ 3825469 h 3825469"/>
              <a:gd name="connsiteX1" fmla="*/ 2143982 w 9842592"/>
              <a:gd name="connsiteY1" fmla="*/ 2048653 h 3825469"/>
              <a:gd name="connsiteX2" fmla="*/ 8235498 w 9842592"/>
              <a:gd name="connsiteY2" fmla="*/ 1003323 h 3825469"/>
              <a:gd name="connsiteX3" fmla="*/ 8035765 w 9842592"/>
              <a:gd name="connsiteY3" fmla="*/ 239992 h 3825469"/>
              <a:gd name="connsiteX4" fmla="*/ 9842592 w 9842592"/>
              <a:gd name="connsiteY4" fmla="*/ 378 h 3825469"/>
              <a:gd name="connsiteX0" fmla="*/ 0 w 9842592"/>
              <a:gd name="connsiteY0" fmla="*/ 3825469 h 3825469"/>
              <a:gd name="connsiteX1" fmla="*/ 2143982 w 9842592"/>
              <a:gd name="connsiteY1" fmla="*/ 2048653 h 3825469"/>
              <a:gd name="connsiteX2" fmla="*/ 8235498 w 9842592"/>
              <a:gd name="connsiteY2" fmla="*/ 1003323 h 3825469"/>
              <a:gd name="connsiteX3" fmla="*/ 8035765 w 9842592"/>
              <a:gd name="connsiteY3" fmla="*/ 239992 h 3825469"/>
              <a:gd name="connsiteX4" fmla="*/ 9842592 w 9842592"/>
              <a:gd name="connsiteY4" fmla="*/ 378 h 3825469"/>
              <a:gd name="connsiteX0" fmla="*/ 0 w 9842592"/>
              <a:gd name="connsiteY0" fmla="*/ 3825435 h 3825435"/>
              <a:gd name="connsiteX1" fmla="*/ 2143982 w 9842592"/>
              <a:gd name="connsiteY1" fmla="*/ 2048619 h 3825435"/>
              <a:gd name="connsiteX2" fmla="*/ 8235498 w 9842592"/>
              <a:gd name="connsiteY2" fmla="*/ 949474 h 3825435"/>
              <a:gd name="connsiteX3" fmla="*/ 8035765 w 9842592"/>
              <a:gd name="connsiteY3" fmla="*/ 239958 h 3825435"/>
              <a:gd name="connsiteX4" fmla="*/ 9842592 w 9842592"/>
              <a:gd name="connsiteY4" fmla="*/ 344 h 3825435"/>
              <a:gd name="connsiteX0" fmla="*/ 0 w 9842592"/>
              <a:gd name="connsiteY0" fmla="*/ 3825435 h 3825435"/>
              <a:gd name="connsiteX1" fmla="*/ 2143982 w 9842592"/>
              <a:gd name="connsiteY1" fmla="*/ 2048619 h 3825435"/>
              <a:gd name="connsiteX2" fmla="*/ 8235498 w 9842592"/>
              <a:gd name="connsiteY2" fmla="*/ 949474 h 3825435"/>
              <a:gd name="connsiteX3" fmla="*/ 8035765 w 9842592"/>
              <a:gd name="connsiteY3" fmla="*/ 239958 h 3825435"/>
              <a:gd name="connsiteX4" fmla="*/ 9842592 w 9842592"/>
              <a:gd name="connsiteY4" fmla="*/ 344 h 3825435"/>
              <a:gd name="connsiteX0" fmla="*/ 0 w 9842592"/>
              <a:gd name="connsiteY0" fmla="*/ 3825462 h 3825462"/>
              <a:gd name="connsiteX1" fmla="*/ 2143982 w 9842592"/>
              <a:gd name="connsiteY1" fmla="*/ 2048646 h 3825462"/>
              <a:gd name="connsiteX2" fmla="*/ 8225331 w 9842592"/>
              <a:gd name="connsiteY2" fmla="*/ 992552 h 3825462"/>
              <a:gd name="connsiteX3" fmla="*/ 8035765 w 9842592"/>
              <a:gd name="connsiteY3" fmla="*/ 239985 h 3825462"/>
              <a:gd name="connsiteX4" fmla="*/ 9842592 w 9842592"/>
              <a:gd name="connsiteY4" fmla="*/ 371 h 3825462"/>
              <a:gd name="connsiteX0" fmla="*/ 0 w 9842592"/>
              <a:gd name="connsiteY0" fmla="*/ 3825462 h 3825462"/>
              <a:gd name="connsiteX1" fmla="*/ 2143982 w 9842592"/>
              <a:gd name="connsiteY1" fmla="*/ 2048646 h 3825462"/>
              <a:gd name="connsiteX2" fmla="*/ 8225331 w 9842592"/>
              <a:gd name="connsiteY2" fmla="*/ 992552 h 3825462"/>
              <a:gd name="connsiteX3" fmla="*/ 8035765 w 9842592"/>
              <a:gd name="connsiteY3" fmla="*/ 239985 h 3825462"/>
              <a:gd name="connsiteX4" fmla="*/ 9842592 w 9842592"/>
              <a:gd name="connsiteY4" fmla="*/ 371 h 3825462"/>
              <a:gd name="connsiteX0" fmla="*/ 0 w 9842592"/>
              <a:gd name="connsiteY0" fmla="*/ 3825462 h 3825462"/>
              <a:gd name="connsiteX1" fmla="*/ 2143982 w 9842592"/>
              <a:gd name="connsiteY1" fmla="*/ 2048646 h 3825462"/>
              <a:gd name="connsiteX2" fmla="*/ 8225331 w 9842592"/>
              <a:gd name="connsiteY2" fmla="*/ 992552 h 3825462"/>
              <a:gd name="connsiteX3" fmla="*/ 8035765 w 9842592"/>
              <a:gd name="connsiteY3" fmla="*/ 239985 h 3825462"/>
              <a:gd name="connsiteX4" fmla="*/ 9842592 w 9842592"/>
              <a:gd name="connsiteY4" fmla="*/ 371 h 3825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42592" h="3825462">
                <a:moveTo>
                  <a:pt x="0" y="3825462"/>
                </a:moveTo>
                <a:cubicBezTo>
                  <a:pt x="30990" y="3236972"/>
                  <a:pt x="630750" y="2499273"/>
                  <a:pt x="2143982" y="2048646"/>
                </a:cubicBezTo>
                <a:cubicBezTo>
                  <a:pt x="3657214" y="1598019"/>
                  <a:pt x="6979016" y="1401625"/>
                  <a:pt x="8225331" y="992552"/>
                </a:cubicBezTo>
                <a:cubicBezTo>
                  <a:pt x="9471646" y="583479"/>
                  <a:pt x="7766222" y="405348"/>
                  <a:pt x="8035765" y="239985"/>
                </a:cubicBezTo>
                <a:cubicBezTo>
                  <a:pt x="8305308" y="74622"/>
                  <a:pt x="9358061" y="-6203"/>
                  <a:pt x="9842592" y="371"/>
                </a:cubicBezTo>
              </a:path>
            </a:pathLst>
          </a:custGeom>
          <a:noFill/>
          <a:ln w="47625">
            <a:gradFill>
              <a:gsLst>
                <a:gs pos="100000">
                  <a:srgbClr val="00FFB9"/>
                </a:gs>
                <a:gs pos="0">
                  <a:srgbClr val="00E6DC"/>
                </a:gs>
              </a:gsLst>
              <a:lin ang="5400000" scaled="1"/>
            </a:gra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ea typeface="ヒラギノ角ゴ Pro W3" charset="0"/>
            </a:endParaRPr>
          </a:p>
        </p:txBody>
      </p:sp>
      <p:sp>
        <p:nvSpPr>
          <p:cNvPr id="83" name="Text Box 90">
            <a:extLst>
              <a:ext uri="{FF2B5EF4-FFF2-40B4-BE49-F238E27FC236}">
                <a16:creationId xmlns:a16="http://schemas.microsoft.com/office/drawing/2014/main" id="{A3BA1C7C-7833-7446-90E2-6D7B35F2E42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26295" y="1414801"/>
            <a:ext cx="2700000" cy="57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cs-CZ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Start soutěže</a:t>
            </a:r>
          </a:p>
          <a:p>
            <a:pPr algn="l">
              <a:spcBef>
                <a:spcPts val="0"/>
              </a:spcBef>
              <a:defRPr/>
            </a:pPr>
            <a:r>
              <a:rPr lang="cs-CZ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1. </a:t>
            </a: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s</a:t>
            </a:r>
            <a:r>
              <a:rPr lang="cs-CZ" altLang="de-DE" sz="1200" dirty="0" err="1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rpna</a:t>
            </a: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 2024</a:t>
            </a:r>
          </a:p>
        </p:txBody>
      </p:sp>
      <p:sp>
        <p:nvSpPr>
          <p:cNvPr id="84" name="Text Box 90">
            <a:extLst>
              <a:ext uri="{FF2B5EF4-FFF2-40B4-BE49-F238E27FC236}">
                <a16:creationId xmlns:a16="http://schemas.microsoft.com/office/drawing/2014/main" id="{001B648F-0560-AB4D-A475-68BE11717E9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797749" y="1428348"/>
            <a:ext cx="2340000" cy="57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cs-CZ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Uzávěrka přihlášek</a:t>
            </a:r>
          </a:p>
          <a:p>
            <a:pPr algn="l">
              <a:spcBef>
                <a:spcPts val="0"/>
              </a:spcBef>
              <a:defRPr/>
            </a:pPr>
            <a:r>
              <a:rPr lang="cs-CZ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30. </a:t>
            </a: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l</a:t>
            </a:r>
            <a:r>
              <a:rPr lang="cs-CZ" altLang="de-DE" sz="1200" dirty="0" err="1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istopadu</a:t>
            </a: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 2024</a:t>
            </a:r>
          </a:p>
        </p:txBody>
      </p:sp>
      <p:sp>
        <p:nvSpPr>
          <p:cNvPr id="85" name="Text Box 90">
            <a:extLst>
              <a:ext uri="{FF2B5EF4-FFF2-40B4-BE49-F238E27FC236}">
                <a16:creationId xmlns:a16="http://schemas.microsoft.com/office/drawing/2014/main" id="{BEC96CDE-01AC-C543-BA74-DB101DD4838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442250" y="1403865"/>
            <a:ext cx="2379932" cy="86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cs-CZ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Ohlášení výsledků účastníkům</a:t>
            </a:r>
            <a:endParaRPr lang="en-US" altLang="de-DE" sz="1600" b="1" dirty="0">
              <a:solidFill>
                <a:srgbClr val="00FFB9"/>
              </a:solidFill>
              <a:latin typeface="+mn-lt"/>
              <a:ea typeface="Arial Unicode MS"/>
            </a:endParaRPr>
          </a:p>
          <a:p>
            <a:pPr marL="0" lvl="1" algn="l">
              <a:spcBef>
                <a:spcPts val="300"/>
              </a:spcBef>
              <a:buClr>
                <a:srgbClr val="3C464B"/>
              </a:buClr>
              <a:defRPr/>
            </a:pPr>
            <a:r>
              <a:rPr lang="cs-CZ" sz="1200" dirty="0">
                <a:solidFill>
                  <a:srgbClr val="9999A9"/>
                </a:solidFill>
                <a:latin typeface="+mn-lt"/>
              </a:rPr>
              <a:t>Do 31. ledna 202</a:t>
            </a:r>
            <a:r>
              <a:rPr lang="en-US" sz="1200" dirty="0">
                <a:solidFill>
                  <a:srgbClr val="9999A9"/>
                </a:solidFill>
                <a:latin typeface="+mn-lt"/>
              </a:rPr>
              <a:t>5</a:t>
            </a:r>
            <a:endParaRPr lang="en-US" altLang="de-DE" sz="1200" dirty="0">
              <a:solidFill>
                <a:srgbClr val="9999A9"/>
              </a:solidFill>
              <a:latin typeface="+mn-lt"/>
              <a:ea typeface="Arial Unicode MS"/>
              <a:cs typeface="Arial" pitchFamily="34" charset="0"/>
            </a:endParaRP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0916218-0FE7-DA40-850A-7231E8C46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chemeClr val="accent2"/>
                </a:solidFill>
              </a:rPr>
              <a:t>Časový harmonogram soutěže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735936B-C854-8B47-A5D9-DD0428A75F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5</a:t>
            </a:r>
          </a:p>
        </p:txBody>
      </p:sp>
      <p:cxnSp>
        <p:nvCxnSpPr>
          <p:cNvPr id="22" name="Gerade Verbindung 52">
            <a:extLst>
              <a:ext uri="{FF2B5EF4-FFF2-40B4-BE49-F238E27FC236}">
                <a16:creationId xmlns:a16="http://schemas.microsoft.com/office/drawing/2014/main" id="{70D7F7B6-C5FB-8B46-861D-D27C1AD2BF44}"/>
              </a:ext>
            </a:extLst>
          </p:cNvPr>
          <p:cNvCxnSpPr>
            <a:stCxn id="72" idx="0"/>
          </p:cNvCxnSpPr>
          <p:nvPr/>
        </p:nvCxnSpPr>
        <p:spPr bwMode="gray">
          <a:xfrm>
            <a:off x="9586106" y="3480714"/>
            <a:ext cx="518" cy="2695395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52">
            <a:extLst>
              <a:ext uri="{FF2B5EF4-FFF2-40B4-BE49-F238E27FC236}">
                <a16:creationId xmlns:a16="http://schemas.microsoft.com/office/drawing/2014/main" id="{C88757CC-7896-8144-9D17-944234C2263F}"/>
              </a:ext>
            </a:extLst>
          </p:cNvPr>
          <p:cNvCxnSpPr/>
          <p:nvPr/>
        </p:nvCxnSpPr>
        <p:spPr bwMode="gray">
          <a:xfrm>
            <a:off x="5700793" y="4170484"/>
            <a:ext cx="383" cy="2021921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rade Verbindung 52">
            <a:extLst>
              <a:ext uri="{FF2B5EF4-FFF2-40B4-BE49-F238E27FC236}">
                <a16:creationId xmlns:a16="http://schemas.microsoft.com/office/drawing/2014/main" id="{9A68F6AA-ABA5-FF4F-8DD0-86B83AE99BEC}"/>
              </a:ext>
            </a:extLst>
          </p:cNvPr>
          <p:cNvCxnSpPr/>
          <p:nvPr/>
        </p:nvCxnSpPr>
        <p:spPr bwMode="gray">
          <a:xfrm flipH="1">
            <a:off x="7382193" y="1430007"/>
            <a:ext cx="1663" cy="1993346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52">
            <a:extLst>
              <a:ext uri="{FF2B5EF4-FFF2-40B4-BE49-F238E27FC236}">
                <a16:creationId xmlns:a16="http://schemas.microsoft.com/office/drawing/2014/main" id="{D867D07B-6404-1744-AE60-3955EBA69E18}"/>
              </a:ext>
            </a:extLst>
          </p:cNvPr>
          <p:cNvCxnSpPr/>
          <p:nvPr/>
        </p:nvCxnSpPr>
        <p:spPr bwMode="gray">
          <a:xfrm>
            <a:off x="3766725" y="1439124"/>
            <a:ext cx="0" cy="2315716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F4890CFC-74CB-9B46-8661-65A754EA8041}"/>
              </a:ext>
            </a:extLst>
          </p:cNvPr>
          <p:cNvCxnSpPr/>
          <p:nvPr/>
        </p:nvCxnSpPr>
        <p:spPr bwMode="gray">
          <a:xfrm flipH="1">
            <a:off x="1107766" y="1414801"/>
            <a:ext cx="18530" cy="3228914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7" name="Text Box 90">
            <a:extLst>
              <a:ext uri="{FF2B5EF4-FFF2-40B4-BE49-F238E27FC236}">
                <a16:creationId xmlns:a16="http://schemas.microsoft.com/office/drawing/2014/main" id="{FB7490FA-DDE6-1547-BA4E-5C1AB798117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839855" y="5624559"/>
            <a:ext cx="2340000" cy="57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 anchor="b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cs-CZ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Zasedání porot</a:t>
            </a:r>
          </a:p>
          <a:p>
            <a:pPr algn="l">
              <a:spcBef>
                <a:spcPts val="0"/>
              </a:spcBef>
              <a:defRPr/>
            </a:pP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16. </a:t>
            </a:r>
            <a:r>
              <a:rPr lang="en-US" altLang="de-DE" sz="1200" dirty="0" err="1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ledna</a:t>
            </a:r>
            <a:r>
              <a:rPr lang="cs-CZ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 202</a:t>
            </a: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5</a:t>
            </a:r>
          </a:p>
        </p:txBody>
      </p:sp>
      <p:sp>
        <p:nvSpPr>
          <p:cNvPr id="88" name="Text Box 90">
            <a:extLst>
              <a:ext uri="{FF2B5EF4-FFF2-40B4-BE49-F238E27FC236}">
                <a16:creationId xmlns:a16="http://schemas.microsoft.com/office/drawing/2014/main" id="{2D11EC4E-282F-2B4D-8D99-1AB961B5A16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590400" y="5353595"/>
            <a:ext cx="2196000" cy="822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 anchor="b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cs-CZ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Slavnostní vyhlášení soutěže</a:t>
            </a:r>
          </a:p>
          <a:p>
            <a:pPr algn="l">
              <a:spcBef>
                <a:spcPts val="0"/>
              </a:spcBef>
              <a:defRPr/>
            </a:pPr>
            <a:r>
              <a:rPr lang="en-US" sz="1200" dirty="0">
                <a:solidFill>
                  <a:srgbClr val="9999A9"/>
                </a:solidFill>
                <a:latin typeface="+mn-lt"/>
              </a:rPr>
              <a:t>19. </a:t>
            </a:r>
            <a:r>
              <a:rPr lang="cs-CZ" sz="1200" dirty="0">
                <a:solidFill>
                  <a:srgbClr val="9999A9"/>
                </a:solidFill>
                <a:latin typeface="+mn-lt"/>
              </a:rPr>
              <a:t>března 202</a:t>
            </a:r>
            <a:r>
              <a:rPr lang="en-US" sz="1200" dirty="0">
                <a:solidFill>
                  <a:srgbClr val="9999A9"/>
                </a:solidFill>
                <a:latin typeface="+mn-lt"/>
              </a:rPr>
              <a:t>5</a:t>
            </a:r>
            <a:endParaRPr lang="en-US" altLang="de-DE" sz="1200" dirty="0">
              <a:solidFill>
                <a:srgbClr val="9999A9"/>
              </a:solidFill>
              <a:latin typeface="+mn-lt"/>
              <a:ea typeface="Arial Unicode MS"/>
              <a:cs typeface="Arial" pitchFamily="34" charset="0"/>
            </a:endParaRPr>
          </a:p>
        </p:txBody>
      </p:sp>
      <p:grpSp>
        <p:nvGrpSpPr>
          <p:cNvPr id="58" name="Group 17">
            <a:extLst>
              <a:ext uri="{FF2B5EF4-FFF2-40B4-BE49-F238E27FC236}">
                <a16:creationId xmlns:a16="http://schemas.microsoft.com/office/drawing/2014/main" id="{A7EB058F-FF9B-45F4-A893-185B405E8F14}"/>
              </a:ext>
            </a:extLst>
          </p:cNvPr>
          <p:cNvGrpSpPr/>
          <p:nvPr/>
        </p:nvGrpSpPr>
        <p:grpSpPr>
          <a:xfrm>
            <a:off x="658178" y="3512393"/>
            <a:ext cx="900112" cy="1274439"/>
            <a:chOff x="734378" y="3537591"/>
            <a:chExt cx="900112" cy="1274439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3204C759-2AA2-4AF6-AFEF-36DD6AF56E20}"/>
                </a:ext>
              </a:extLst>
            </p:cNvPr>
            <p:cNvSpPr/>
            <p:nvPr/>
          </p:nvSpPr>
          <p:spPr bwMode="auto">
            <a:xfrm>
              <a:off x="734378" y="4552964"/>
              <a:ext cx="900112" cy="259066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60" name="Group 12">
              <a:extLst>
                <a:ext uri="{FF2B5EF4-FFF2-40B4-BE49-F238E27FC236}">
                  <a16:creationId xmlns:a16="http://schemas.microsoft.com/office/drawing/2014/main" id="{6CA7AD17-037E-42F5-8B63-0AB0C631BE3A}"/>
                </a:ext>
              </a:extLst>
            </p:cNvPr>
            <p:cNvGrpSpPr/>
            <p:nvPr/>
          </p:nvGrpSpPr>
          <p:grpSpPr>
            <a:xfrm>
              <a:off x="794963" y="3537591"/>
              <a:ext cx="778943" cy="1131322"/>
              <a:chOff x="115998" y="4766494"/>
              <a:chExt cx="778943" cy="1131322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E306C5D4-A094-4520-8915-E37F7BDF6488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" name="Freeform 26">
                <a:extLst>
                  <a:ext uri="{FF2B5EF4-FFF2-40B4-BE49-F238E27FC236}">
                    <a16:creationId xmlns:a16="http://schemas.microsoft.com/office/drawing/2014/main" id="{097A8953-1539-4333-9D6C-240F82E7BC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998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E5E5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90" name="Group 77">
            <a:extLst>
              <a:ext uri="{FF2B5EF4-FFF2-40B4-BE49-F238E27FC236}">
                <a16:creationId xmlns:a16="http://schemas.microsoft.com/office/drawing/2014/main" id="{88225A8B-19DC-43D0-B041-89158346EA17}"/>
              </a:ext>
            </a:extLst>
          </p:cNvPr>
          <p:cNvGrpSpPr/>
          <p:nvPr/>
        </p:nvGrpSpPr>
        <p:grpSpPr>
          <a:xfrm>
            <a:off x="3399015" y="3005049"/>
            <a:ext cx="735423" cy="1041261"/>
            <a:chOff x="734378" y="3537591"/>
            <a:chExt cx="900112" cy="1274439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41DB4E81-B331-4F9F-9DD5-F328F4161FB3}"/>
                </a:ext>
              </a:extLst>
            </p:cNvPr>
            <p:cNvSpPr/>
            <p:nvPr/>
          </p:nvSpPr>
          <p:spPr bwMode="auto">
            <a:xfrm>
              <a:off x="734378" y="4552964"/>
              <a:ext cx="900112" cy="259066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92" name="Group 79">
              <a:extLst>
                <a:ext uri="{FF2B5EF4-FFF2-40B4-BE49-F238E27FC236}">
                  <a16:creationId xmlns:a16="http://schemas.microsoft.com/office/drawing/2014/main" id="{C84CD24D-ABB0-42BD-9ADD-235DE5735D8F}"/>
                </a:ext>
              </a:extLst>
            </p:cNvPr>
            <p:cNvGrpSpPr/>
            <p:nvPr/>
          </p:nvGrpSpPr>
          <p:grpSpPr>
            <a:xfrm>
              <a:off x="794961" y="3537591"/>
              <a:ext cx="778943" cy="1131322"/>
              <a:chOff x="115996" y="4766494"/>
              <a:chExt cx="778943" cy="1131322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7E4EED5D-9B17-472A-B003-61A6C8807C39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4" name="Freeform 26">
                <a:extLst>
                  <a:ext uri="{FF2B5EF4-FFF2-40B4-BE49-F238E27FC236}">
                    <a16:creationId xmlns:a16="http://schemas.microsoft.com/office/drawing/2014/main" id="{47F05637-96B2-4B38-ABE0-41A8F370E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996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CCCC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95" name="Group 82">
            <a:extLst>
              <a:ext uri="{FF2B5EF4-FFF2-40B4-BE49-F238E27FC236}">
                <a16:creationId xmlns:a16="http://schemas.microsoft.com/office/drawing/2014/main" id="{3DCBE370-459C-4777-A8F8-B4892CB17D95}"/>
              </a:ext>
            </a:extLst>
          </p:cNvPr>
          <p:cNvGrpSpPr/>
          <p:nvPr/>
        </p:nvGrpSpPr>
        <p:grpSpPr>
          <a:xfrm>
            <a:off x="5324046" y="3412176"/>
            <a:ext cx="735423" cy="1041262"/>
            <a:chOff x="734379" y="3537591"/>
            <a:chExt cx="900112" cy="127444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FFA55F68-44F1-478E-A16E-15E68A6DDC7F}"/>
                </a:ext>
              </a:extLst>
            </p:cNvPr>
            <p:cNvSpPr/>
            <p:nvPr/>
          </p:nvSpPr>
          <p:spPr bwMode="auto">
            <a:xfrm>
              <a:off x="734379" y="4552965"/>
              <a:ext cx="900112" cy="259066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97" name="Group 84">
              <a:extLst>
                <a:ext uri="{FF2B5EF4-FFF2-40B4-BE49-F238E27FC236}">
                  <a16:creationId xmlns:a16="http://schemas.microsoft.com/office/drawing/2014/main" id="{AD73D1D9-2B7C-45DD-949D-4E6AEA0850A4}"/>
                </a:ext>
              </a:extLst>
            </p:cNvPr>
            <p:cNvGrpSpPr/>
            <p:nvPr/>
          </p:nvGrpSpPr>
          <p:grpSpPr>
            <a:xfrm>
              <a:off x="794963" y="3537591"/>
              <a:ext cx="778943" cy="1131322"/>
              <a:chOff x="115998" y="4766494"/>
              <a:chExt cx="778943" cy="1131322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B02A10CB-F786-40A3-9FCE-C992C605DCE3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9" name="Freeform 26">
                <a:extLst>
                  <a:ext uri="{FF2B5EF4-FFF2-40B4-BE49-F238E27FC236}">
                    <a16:creationId xmlns:a16="http://schemas.microsoft.com/office/drawing/2014/main" id="{D596FD4C-93F5-4A10-AD0E-F8C01CEA7F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998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CCCC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00" name="Group 87">
            <a:extLst>
              <a:ext uri="{FF2B5EF4-FFF2-40B4-BE49-F238E27FC236}">
                <a16:creationId xmlns:a16="http://schemas.microsoft.com/office/drawing/2014/main" id="{8721C03A-FA30-4766-B786-0266FF9B0676}"/>
              </a:ext>
            </a:extLst>
          </p:cNvPr>
          <p:cNvGrpSpPr/>
          <p:nvPr/>
        </p:nvGrpSpPr>
        <p:grpSpPr>
          <a:xfrm>
            <a:off x="7118467" y="2648701"/>
            <a:ext cx="541778" cy="852272"/>
            <a:chOff x="805109" y="3537591"/>
            <a:chExt cx="778943" cy="1225360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920D29E7-D1D7-48D7-8F4F-D0B7EE26DCF0}"/>
                </a:ext>
              </a:extLst>
            </p:cNvPr>
            <p:cNvSpPr/>
            <p:nvPr/>
          </p:nvSpPr>
          <p:spPr bwMode="auto">
            <a:xfrm>
              <a:off x="915048" y="4602042"/>
              <a:ext cx="559066" cy="160909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02" name="Group 89">
              <a:extLst>
                <a:ext uri="{FF2B5EF4-FFF2-40B4-BE49-F238E27FC236}">
                  <a16:creationId xmlns:a16="http://schemas.microsoft.com/office/drawing/2014/main" id="{9FC7D714-96F2-4D88-AF9E-05CB675100F6}"/>
                </a:ext>
              </a:extLst>
            </p:cNvPr>
            <p:cNvGrpSpPr/>
            <p:nvPr/>
          </p:nvGrpSpPr>
          <p:grpSpPr>
            <a:xfrm>
              <a:off x="805109" y="3537591"/>
              <a:ext cx="778943" cy="1131322"/>
              <a:chOff x="126144" y="4766494"/>
              <a:chExt cx="778943" cy="1131322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76A2AE7B-6BB3-498C-BB57-E53DF543E4F9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4" name="Freeform 26">
                <a:extLst>
                  <a:ext uri="{FF2B5EF4-FFF2-40B4-BE49-F238E27FC236}">
                    <a16:creationId xmlns:a16="http://schemas.microsoft.com/office/drawing/2014/main" id="{9B293583-5E55-4A26-9267-2F6F98FC98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44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999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05" name="Group 92">
            <a:extLst>
              <a:ext uri="{FF2B5EF4-FFF2-40B4-BE49-F238E27FC236}">
                <a16:creationId xmlns:a16="http://schemas.microsoft.com/office/drawing/2014/main" id="{FDC82DF8-01BD-4578-8B64-F9BCAF7E056F}"/>
              </a:ext>
            </a:extLst>
          </p:cNvPr>
          <p:cNvGrpSpPr/>
          <p:nvPr/>
        </p:nvGrpSpPr>
        <p:grpSpPr>
          <a:xfrm>
            <a:off x="9315543" y="2693848"/>
            <a:ext cx="541778" cy="852272"/>
            <a:chOff x="805109" y="3537591"/>
            <a:chExt cx="778943" cy="1225360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85D07D04-820B-4041-A5B2-797650B8AA01}"/>
                </a:ext>
              </a:extLst>
            </p:cNvPr>
            <p:cNvSpPr/>
            <p:nvPr/>
          </p:nvSpPr>
          <p:spPr bwMode="auto">
            <a:xfrm>
              <a:off x="915048" y="4602042"/>
              <a:ext cx="559066" cy="160909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07" name="Group 94">
              <a:extLst>
                <a:ext uri="{FF2B5EF4-FFF2-40B4-BE49-F238E27FC236}">
                  <a16:creationId xmlns:a16="http://schemas.microsoft.com/office/drawing/2014/main" id="{9E933FF4-2C07-4554-9635-B8B32E61FFB1}"/>
                </a:ext>
              </a:extLst>
            </p:cNvPr>
            <p:cNvGrpSpPr/>
            <p:nvPr/>
          </p:nvGrpSpPr>
          <p:grpSpPr>
            <a:xfrm>
              <a:off x="805109" y="3537591"/>
              <a:ext cx="778943" cy="1131322"/>
              <a:chOff x="126144" y="4766494"/>
              <a:chExt cx="778943" cy="1131322"/>
            </a:xfrm>
          </p:grpSpPr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18D31875-C177-4CB2-A304-65AE10EEF121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9" name="Freeform 26">
                <a:extLst>
                  <a:ext uri="{FF2B5EF4-FFF2-40B4-BE49-F238E27FC236}">
                    <a16:creationId xmlns:a16="http://schemas.microsoft.com/office/drawing/2014/main" id="{B26F2613-3130-43B0-8E5C-C4EEAB0B2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44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999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10" name="Group 97">
            <a:extLst>
              <a:ext uri="{FF2B5EF4-FFF2-40B4-BE49-F238E27FC236}">
                <a16:creationId xmlns:a16="http://schemas.microsoft.com/office/drawing/2014/main" id="{17C4C33B-00D4-4FCD-A855-C3AFEB5AEBB7}"/>
              </a:ext>
            </a:extLst>
          </p:cNvPr>
          <p:cNvGrpSpPr/>
          <p:nvPr/>
        </p:nvGrpSpPr>
        <p:grpSpPr>
          <a:xfrm>
            <a:off x="9719593" y="1686737"/>
            <a:ext cx="318572" cy="501146"/>
            <a:chOff x="805109" y="3537591"/>
            <a:chExt cx="778943" cy="1225360"/>
          </a:xfrm>
        </p:grpSpPr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2C87E847-9A72-449C-A8E0-59AB2DA1197F}"/>
                </a:ext>
              </a:extLst>
            </p:cNvPr>
            <p:cNvSpPr/>
            <p:nvPr/>
          </p:nvSpPr>
          <p:spPr bwMode="auto">
            <a:xfrm>
              <a:off x="915048" y="4602043"/>
              <a:ext cx="559067" cy="160908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12" name="Group 99">
              <a:extLst>
                <a:ext uri="{FF2B5EF4-FFF2-40B4-BE49-F238E27FC236}">
                  <a16:creationId xmlns:a16="http://schemas.microsoft.com/office/drawing/2014/main" id="{03DBD9F6-9D9F-4D23-BF22-D6CCD7B70BD9}"/>
                </a:ext>
              </a:extLst>
            </p:cNvPr>
            <p:cNvGrpSpPr/>
            <p:nvPr/>
          </p:nvGrpSpPr>
          <p:grpSpPr>
            <a:xfrm>
              <a:off x="805109" y="3537591"/>
              <a:ext cx="778943" cy="1131322"/>
              <a:chOff x="126144" y="4766494"/>
              <a:chExt cx="778943" cy="1131322"/>
            </a:xfrm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BD94EF6D-BFBC-4817-ADB6-F62058127BE5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4" name="Freeform 26">
                <a:extLst>
                  <a:ext uri="{FF2B5EF4-FFF2-40B4-BE49-F238E27FC236}">
                    <a16:creationId xmlns:a16="http://schemas.microsoft.com/office/drawing/2014/main" id="{5E02A2A8-D34B-49D9-8346-D0E57A291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44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6666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15" name="Group 102">
            <a:extLst>
              <a:ext uri="{FF2B5EF4-FFF2-40B4-BE49-F238E27FC236}">
                <a16:creationId xmlns:a16="http://schemas.microsoft.com/office/drawing/2014/main" id="{E6D3AA5F-1E26-4B33-88AC-B5E6F061AEC9}"/>
              </a:ext>
            </a:extLst>
          </p:cNvPr>
          <p:cNvGrpSpPr/>
          <p:nvPr/>
        </p:nvGrpSpPr>
        <p:grpSpPr>
          <a:xfrm>
            <a:off x="10667880" y="2134296"/>
            <a:ext cx="318572" cy="501146"/>
            <a:chOff x="805109" y="3537591"/>
            <a:chExt cx="778943" cy="122536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AE068974-7E31-4D76-8AD7-6E10F48CA41F}"/>
                </a:ext>
              </a:extLst>
            </p:cNvPr>
            <p:cNvSpPr/>
            <p:nvPr/>
          </p:nvSpPr>
          <p:spPr bwMode="auto">
            <a:xfrm>
              <a:off x="915048" y="4602043"/>
              <a:ext cx="559067" cy="160908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17" name="Group 104">
              <a:extLst>
                <a:ext uri="{FF2B5EF4-FFF2-40B4-BE49-F238E27FC236}">
                  <a16:creationId xmlns:a16="http://schemas.microsoft.com/office/drawing/2014/main" id="{247D9429-2169-4F1A-9695-53607BBDE8B3}"/>
                </a:ext>
              </a:extLst>
            </p:cNvPr>
            <p:cNvGrpSpPr/>
            <p:nvPr/>
          </p:nvGrpSpPr>
          <p:grpSpPr>
            <a:xfrm>
              <a:off x="805109" y="3537591"/>
              <a:ext cx="778943" cy="1131322"/>
              <a:chOff x="126144" y="4766494"/>
              <a:chExt cx="778943" cy="1131322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1C534355-D89D-4B00-B7A4-8F24EE2BADC3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9" name="Freeform 26">
                <a:extLst>
                  <a:ext uri="{FF2B5EF4-FFF2-40B4-BE49-F238E27FC236}">
                    <a16:creationId xmlns:a16="http://schemas.microsoft.com/office/drawing/2014/main" id="{AD155BF2-152B-452D-8DA1-E6673C68CE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44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6666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43845B77-1307-578F-E968-AE4C672D9A3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8863" y="6310313"/>
            <a:ext cx="9217025" cy="547687"/>
          </a:xfrm>
        </p:spPr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</a:t>
            </a:r>
            <a:r>
              <a:rPr lang="en-US" dirty="0"/>
              <a:t>8-22</a:t>
            </a:r>
          </a:p>
        </p:txBody>
      </p:sp>
    </p:spTree>
    <p:extLst>
      <p:ext uri="{BB962C8B-B14F-4D97-AF65-F5344CB8AC3E}">
        <p14:creationId xmlns:p14="http://schemas.microsoft.com/office/powerpoint/2010/main" val="39767360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5162" y="1270799"/>
            <a:ext cx="10800000" cy="4536000"/>
          </a:xfrm>
        </p:spPr>
        <p:txBody>
          <a:bodyPr/>
          <a:lstStyle/>
          <a:p>
            <a:r>
              <a:rPr lang="cs-CZ" sz="4800" dirty="0">
                <a:solidFill>
                  <a:schemeClr val="tx1"/>
                </a:solidFill>
              </a:rPr>
              <a:t>Kontakt</a:t>
            </a:r>
          </a:p>
        </p:txBody>
      </p: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0871F5CF-CFCF-A9EC-041A-B611ECD83C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</a:t>
            </a:r>
            <a:r>
              <a:rPr lang="en-US" dirty="0"/>
              <a:t>8-22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DEC03887-CC62-463B-9CCE-729F072DFB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r>
              <a:rPr lang="en-US" dirty="0">
                <a:solidFill>
                  <a:prstClr val="white"/>
                </a:solidFill>
                <a:latin typeface="Arial"/>
              </a:rPr>
              <a:t>6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735162" y="2648850"/>
            <a:ext cx="9215438" cy="3409950"/>
          </a:xfrm>
        </p:spPr>
        <p:txBody>
          <a:bodyPr/>
          <a:lstStyle/>
          <a:p>
            <a:pPr marL="0" lvl="1" indent="0">
              <a:buNone/>
            </a:pPr>
            <a:r>
              <a:rPr lang="cs-CZ" dirty="0"/>
              <a:t>Pravidla, kategorie, přihlášky: </a:t>
            </a:r>
            <a:r>
              <a:rPr lang="cs-CZ" dirty="0">
                <a:hlinkClick r:id="rId2"/>
              </a:rPr>
              <a:t>www.cenasiemens.cz</a:t>
            </a:r>
            <a:r>
              <a:rPr lang="cs-CZ" dirty="0"/>
              <a:t> </a:t>
            </a:r>
            <a:endParaRPr lang="cs-CZ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0" lvl="1" indent="0">
              <a:buNone/>
            </a:pPr>
            <a:r>
              <a:rPr lang="en-US" dirty="0"/>
              <a:t>E-mail: </a:t>
            </a:r>
            <a:r>
              <a:rPr lang="cs-CZ" dirty="0">
                <a:hlinkClick r:id="rId3"/>
              </a:rPr>
              <a:t>cenasiemens.cz@siemens.com</a:t>
            </a:r>
            <a:endParaRPr lang="cs-CZ" dirty="0"/>
          </a:p>
          <a:p>
            <a:pPr lvl="1"/>
            <a:endParaRPr lang="cs-CZ" dirty="0"/>
          </a:p>
          <a:p>
            <a:pPr marL="0" lvl="1" indent="0">
              <a:buNone/>
            </a:pPr>
            <a:r>
              <a:rPr lang="cs-CZ" dirty="0"/>
              <a:t>Ing. Jaroslava Tomášková</a:t>
            </a:r>
            <a:endParaRPr lang="en-US" dirty="0"/>
          </a:p>
          <a:p>
            <a:r>
              <a:rPr lang="en-US" dirty="0"/>
              <a:t>MarCom Project Manager</a:t>
            </a:r>
          </a:p>
          <a:p>
            <a:r>
              <a:rPr lang="cs-CZ" dirty="0"/>
              <a:t>Communications</a:t>
            </a:r>
          </a:p>
          <a:p>
            <a:pPr marL="0" lvl="1" indent="0">
              <a:buNone/>
            </a:pPr>
            <a:r>
              <a:rPr lang="cs-CZ" dirty="0"/>
              <a:t>Mobil</a:t>
            </a:r>
            <a:r>
              <a:rPr lang="en-US" dirty="0"/>
              <a:t>: +4</a:t>
            </a:r>
            <a:r>
              <a:rPr lang="cs-CZ" dirty="0"/>
              <a:t>20 733 140 240</a:t>
            </a:r>
            <a:endParaRPr lang="en-US" dirty="0"/>
          </a:p>
          <a:p>
            <a:pPr marL="0" lvl="1" indent="0">
              <a:buNone/>
            </a:pPr>
            <a:r>
              <a:rPr lang="en-US" dirty="0"/>
              <a:t>E-mail: </a:t>
            </a:r>
            <a:r>
              <a:rPr lang="en-US" dirty="0">
                <a:hlinkClick r:id="rId4"/>
              </a:rPr>
              <a:t>jaroslava.tomaskova@siemens.com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40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4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5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a59b6cd5-d141-4a33-8bf1-0ca04484304f}" enabled="1" method="Standar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487</Words>
  <Application>Microsoft Office PowerPoint</Application>
  <PresentationFormat>Widescreen</PresentationFormat>
  <Paragraphs>75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Arial Unicode MS</vt:lpstr>
      <vt:lpstr>Calibri</vt:lpstr>
      <vt:lpstr>Wingdings</vt:lpstr>
      <vt:lpstr>ヒラギノ角ゴ Pro W3</vt:lpstr>
      <vt:lpstr>1_Siemens 2020</vt:lpstr>
      <vt:lpstr>14_Siemens 2020</vt:lpstr>
      <vt:lpstr>15_Siemens 2020</vt:lpstr>
      <vt:lpstr>2_Siemens 2020</vt:lpstr>
      <vt:lpstr>3_Siemens 2020</vt:lpstr>
      <vt:lpstr>think-cell Folie</vt:lpstr>
      <vt:lpstr>PowerPoint Presentation</vt:lpstr>
      <vt:lpstr>Cena Wernera von Siemense O soutěži</vt:lpstr>
      <vt:lpstr>Cena Wernera von Siemense v číslech</vt:lpstr>
      <vt:lpstr>Kategorie a výhry v roce 2024 1 000 000 Kč</vt:lpstr>
      <vt:lpstr>Časový harmonogram soutěže</vt:lpstr>
      <vt:lpstr>Kontak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Dolezalova, Adriana (RC-CZ CM MC)</dc:creator>
  <cp:lastModifiedBy>Tomášková, Jaroslava (RC-CZ CM MC)</cp:lastModifiedBy>
  <cp:revision>70</cp:revision>
  <dcterms:created xsi:type="dcterms:W3CDTF">2021-09-27T09:19:59Z</dcterms:created>
  <dcterms:modified xsi:type="dcterms:W3CDTF">2024-10-02T13:2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1-10-18T10:04:11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5b2750e4-2a63-487c-97a4-a32d59c48b61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